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3.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4.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5.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6.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7.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8.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9.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0.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11.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2.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24"/>
  </p:notesMasterIdLst>
  <p:handoutMasterIdLst>
    <p:handoutMasterId r:id="rId25"/>
  </p:handoutMasterIdLst>
  <p:sldIdLst>
    <p:sldId id="256" r:id="rId2"/>
    <p:sldId id="323" r:id="rId3"/>
    <p:sldId id="298" r:id="rId4"/>
    <p:sldId id="340" r:id="rId5"/>
    <p:sldId id="492" r:id="rId6"/>
    <p:sldId id="361" r:id="rId7"/>
    <p:sldId id="551" r:id="rId8"/>
    <p:sldId id="552" r:id="rId9"/>
    <p:sldId id="553" r:id="rId10"/>
    <p:sldId id="293" r:id="rId11"/>
    <p:sldId id="550" r:id="rId12"/>
    <p:sldId id="549" r:id="rId13"/>
    <p:sldId id="548" r:id="rId14"/>
    <p:sldId id="299" r:id="rId15"/>
    <p:sldId id="300" r:id="rId16"/>
    <p:sldId id="545" r:id="rId17"/>
    <p:sldId id="288" r:id="rId18"/>
    <p:sldId id="535" r:id="rId19"/>
    <p:sldId id="275" r:id="rId20"/>
    <p:sldId id="297" r:id="rId21"/>
    <p:sldId id="261" r:id="rId22"/>
    <p:sldId id="260" r:id="rId23"/>
  </p:sldIdLst>
  <p:sldSz cx="12192000" cy="6858000"/>
  <p:notesSz cx="6950075" cy="9236075"/>
  <p:custShowLst>
    <p:custShow name="Format Guide Workshop" id="0">
      <p:sldLst/>
    </p:custShow>
  </p:custShowLst>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B99"/>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323" autoAdjust="0"/>
  </p:normalViewPr>
  <p:slideViewPr>
    <p:cSldViewPr snapToGrid="0">
      <p:cViewPr>
        <p:scale>
          <a:sx n="120" d="100"/>
          <a:sy n="120" d="100"/>
        </p:scale>
        <p:origin x="234" y="-15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3/3/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3/3/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39229584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6</a:t>
            </a:fld>
            <a:endParaRPr lang="en-US" dirty="0"/>
          </a:p>
        </p:txBody>
      </p:sp>
    </p:spTree>
    <p:extLst>
      <p:ext uri="{BB962C8B-B14F-4D97-AF65-F5344CB8AC3E}">
        <p14:creationId xmlns:p14="http://schemas.microsoft.com/office/powerpoint/2010/main" val="19091134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11974535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33703752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1</a:t>
            </a:fld>
            <a:endParaRPr lang="en-US" dirty="0"/>
          </a:p>
        </p:txBody>
      </p:sp>
    </p:spTree>
    <p:extLst>
      <p:ext uri="{BB962C8B-B14F-4D97-AF65-F5344CB8AC3E}">
        <p14:creationId xmlns:p14="http://schemas.microsoft.com/office/powerpoint/2010/main" val="3392545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9148351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11974535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37273134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9598115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lvl="0"/>
            <a:endParaRPr lang="en-US" dirty="0">
              <a:solidFill>
                <a:srgbClr val="6E6F73"/>
              </a:solidFill>
            </a:endParaRP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27919601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13667718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22896950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119920527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5.xml"/><Relationship Id="rId10" Type="http://schemas.openxmlformats.org/officeDocument/2006/relationships/image" Target="../media/image4.jpg"/><Relationship Id="rId4" Type="http://schemas.openxmlformats.org/officeDocument/2006/relationships/tags" Target="../tags/tag14.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3.xml"/><Relationship Id="rId7" Type="http://schemas.openxmlformats.org/officeDocument/2006/relationships/oleObject" Target="../embeddings/oleObject19.bin"/><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34.xml"/></Relationships>
</file>

<file path=ppt/slides/_rels/slide10.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63.xml"/><Relationship Id="rId7" Type="http://schemas.openxmlformats.org/officeDocument/2006/relationships/oleObject" Target="../embeddings/oleObject26.bin"/><Relationship Id="rId2" Type="http://schemas.openxmlformats.org/officeDocument/2006/relationships/tags" Target="../tags/tag62.xml"/><Relationship Id="rId1" Type="http://schemas.openxmlformats.org/officeDocument/2006/relationships/vmlDrawing" Target="../drawings/vmlDrawing26.vml"/><Relationship Id="rId6" Type="http://schemas.openxmlformats.org/officeDocument/2006/relationships/notesSlide" Target="../notesSlides/notesSlide7.xml"/><Relationship Id="rId5" Type="http://schemas.openxmlformats.org/officeDocument/2006/relationships/slideLayout" Target="../slideLayouts/slideLayout5.xml"/><Relationship Id="rId4" Type="http://schemas.openxmlformats.org/officeDocument/2006/relationships/tags" Target="../tags/tag64.xml"/></Relationships>
</file>

<file path=ppt/slides/_rels/slide11.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35.emf"/><Relationship Id="rId2" Type="http://schemas.openxmlformats.org/officeDocument/2006/relationships/tags" Target="../tags/tag65.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Layout" Target="../slideLayouts/slideLayout2.xml"/><Relationship Id="rId4" Type="http://schemas.openxmlformats.org/officeDocument/2006/relationships/tags" Target="../tags/tag67.xml"/></Relationships>
</file>

<file path=ppt/slides/_rels/slide12.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39.png"/><Relationship Id="rId2" Type="http://schemas.openxmlformats.org/officeDocument/2006/relationships/tags" Target="../tags/tag68.xml"/><Relationship Id="rId1" Type="http://schemas.openxmlformats.org/officeDocument/2006/relationships/vmlDrawing" Target="../drawings/vmlDrawing28.vml"/><Relationship Id="rId6" Type="http://schemas.openxmlformats.org/officeDocument/2006/relationships/image" Target="../media/image35.emf"/><Relationship Id="rId5" Type="http://schemas.openxmlformats.org/officeDocument/2006/relationships/oleObject" Target="../embeddings/oleObject28.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71.xml"/><Relationship Id="rId7" Type="http://schemas.openxmlformats.org/officeDocument/2006/relationships/image" Target="../media/image35.emf"/><Relationship Id="rId2" Type="http://schemas.openxmlformats.org/officeDocument/2006/relationships/tags" Target="../tags/tag70.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73.xml"/><Relationship Id="rId7" Type="http://schemas.openxmlformats.org/officeDocument/2006/relationships/slideLayout" Target="../slideLayouts/slideLayout5.xml"/><Relationship Id="rId2" Type="http://schemas.openxmlformats.org/officeDocument/2006/relationships/tags" Target="../tags/tag72.xml"/><Relationship Id="rId1" Type="http://schemas.openxmlformats.org/officeDocument/2006/relationships/vmlDrawing" Target="../drawings/vmlDrawing30.vml"/><Relationship Id="rId6" Type="http://schemas.openxmlformats.org/officeDocument/2006/relationships/tags" Target="../tags/tag76.xml"/><Relationship Id="rId5" Type="http://schemas.openxmlformats.org/officeDocument/2006/relationships/tags" Target="../tags/tag75.xml"/><Relationship Id="rId10" Type="http://schemas.openxmlformats.org/officeDocument/2006/relationships/image" Target="../media/image10.emf"/><Relationship Id="rId4" Type="http://schemas.openxmlformats.org/officeDocument/2006/relationships/tags" Target="../tags/tag74.xml"/><Relationship Id="rId9" Type="http://schemas.openxmlformats.org/officeDocument/2006/relationships/oleObject" Target="../embeddings/oleObject30.bin"/></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78.xml"/><Relationship Id="rId7" Type="http://schemas.openxmlformats.org/officeDocument/2006/relationships/notesSlide" Target="../notesSlides/notesSlide10.xml"/><Relationship Id="rId2" Type="http://schemas.openxmlformats.org/officeDocument/2006/relationships/tags" Target="../tags/tag77.xml"/><Relationship Id="rId1" Type="http://schemas.openxmlformats.org/officeDocument/2006/relationships/vmlDrawing" Target="../drawings/vmlDrawing31.vml"/><Relationship Id="rId6" Type="http://schemas.openxmlformats.org/officeDocument/2006/relationships/slideLayout" Target="../slideLayouts/slideLayout2.xml"/><Relationship Id="rId5" Type="http://schemas.openxmlformats.org/officeDocument/2006/relationships/tags" Target="../tags/tag80.xml"/><Relationship Id="rId10" Type="http://schemas.openxmlformats.org/officeDocument/2006/relationships/hyperlink" Target="mailto:learning@bcg.com" TargetMode="External"/><Relationship Id="rId4" Type="http://schemas.openxmlformats.org/officeDocument/2006/relationships/tags" Target="../tags/tag79.xml"/><Relationship Id="rId9" Type="http://schemas.openxmlformats.org/officeDocument/2006/relationships/image" Target="../media/image10.emf"/></Relationships>
</file>

<file path=ppt/slides/_rels/slide16.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1.emf"/><Relationship Id="rId2" Type="http://schemas.openxmlformats.org/officeDocument/2006/relationships/tags" Target="../tags/tag81.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slideLayout" Target="../slideLayouts/slideLayout2.xml"/><Relationship Id="rId4" Type="http://schemas.openxmlformats.org/officeDocument/2006/relationships/tags" Target="../tags/tag83.xml"/></Relationships>
</file>

<file path=ppt/slides/_rels/slide17.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85.xml"/><Relationship Id="rId7" Type="http://schemas.openxmlformats.org/officeDocument/2006/relationships/image" Target="../media/image41.emf"/><Relationship Id="rId2" Type="http://schemas.openxmlformats.org/officeDocument/2006/relationships/tags" Target="../tags/tag84.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11.xml"/><Relationship Id="rId10" Type="http://schemas.openxmlformats.org/officeDocument/2006/relationships/image" Target="../media/image44.png"/><Relationship Id="rId4" Type="http://schemas.openxmlformats.org/officeDocument/2006/relationships/slideLayout" Target="../slideLayouts/slideLayout13.xml"/><Relationship Id="rId9" Type="http://schemas.openxmlformats.org/officeDocument/2006/relationships/image" Target="../media/image43.png"/></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tags" Target="../tags/tag87.xml"/><Relationship Id="rId7" Type="http://schemas.openxmlformats.org/officeDocument/2006/relationships/tags" Target="../tags/tag91.xml"/><Relationship Id="rId2" Type="http://schemas.openxmlformats.org/officeDocument/2006/relationships/tags" Target="../tags/tag86.xml"/><Relationship Id="rId1" Type="http://schemas.openxmlformats.org/officeDocument/2006/relationships/vmlDrawing" Target="../drawings/vmlDrawing34.vml"/><Relationship Id="rId6" Type="http://schemas.openxmlformats.org/officeDocument/2006/relationships/tags" Target="../tags/tag90.xml"/><Relationship Id="rId5" Type="http://schemas.openxmlformats.org/officeDocument/2006/relationships/tags" Target="../tags/tag89.xml"/><Relationship Id="rId10" Type="http://schemas.openxmlformats.org/officeDocument/2006/relationships/image" Target="../media/image11.emf"/><Relationship Id="rId4" Type="http://schemas.openxmlformats.org/officeDocument/2006/relationships/tags" Target="../tags/tag88.xml"/><Relationship Id="rId9" Type="http://schemas.openxmlformats.org/officeDocument/2006/relationships/oleObject" Target="../embeddings/oleObject34.bin"/></Relationships>
</file>

<file path=ppt/slides/_rels/slide19.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10.emf"/><Relationship Id="rId2" Type="http://schemas.openxmlformats.org/officeDocument/2006/relationships/tags" Target="../tags/tag92.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12.xml"/><Relationship Id="rId4"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tags" Target="../tags/tag95.xml"/><Relationship Id="rId7" Type="http://schemas.openxmlformats.org/officeDocument/2006/relationships/tags" Target="../tags/tag99.xml"/><Relationship Id="rId2" Type="http://schemas.openxmlformats.org/officeDocument/2006/relationships/tags" Target="../tags/tag94.xml"/><Relationship Id="rId1" Type="http://schemas.openxmlformats.org/officeDocument/2006/relationships/vmlDrawing" Target="../drawings/vmlDrawing36.vml"/><Relationship Id="rId6" Type="http://schemas.openxmlformats.org/officeDocument/2006/relationships/tags" Target="../tags/tag98.xml"/><Relationship Id="rId11" Type="http://schemas.openxmlformats.org/officeDocument/2006/relationships/image" Target="../media/image10.emf"/><Relationship Id="rId5" Type="http://schemas.openxmlformats.org/officeDocument/2006/relationships/tags" Target="../tags/tag97.xml"/><Relationship Id="rId10" Type="http://schemas.openxmlformats.org/officeDocument/2006/relationships/oleObject" Target="../embeddings/oleObject36.bin"/><Relationship Id="rId4" Type="http://schemas.openxmlformats.org/officeDocument/2006/relationships/tags" Target="../tags/tag96.xml"/><Relationship Id="rId9" Type="http://schemas.openxmlformats.org/officeDocument/2006/relationships/notesSlide" Target="../notesSlides/notesSlide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38.xml"/><Relationship Id="rId7" Type="http://schemas.openxmlformats.org/officeDocument/2006/relationships/notesSlide" Target="../notesSlides/notesSlide3.xml"/><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slideLayout" Target="../slideLayouts/slideLayout5.xml"/><Relationship Id="rId5" Type="http://schemas.openxmlformats.org/officeDocument/2006/relationships/tags" Target="../tags/tag40.xml"/><Relationship Id="rId4" Type="http://schemas.openxmlformats.org/officeDocument/2006/relationships/tags" Target="../tags/tag39.xml"/><Relationship Id="rId9" Type="http://schemas.openxmlformats.org/officeDocument/2006/relationships/image" Target="../media/image10.emf"/></Relationships>
</file>

<file path=ppt/slides/_rels/slide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xml"/><Relationship Id="rId7" Type="http://schemas.openxmlformats.org/officeDocument/2006/relationships/oleObject" Target="../embeddings/oleObject21.bin"/><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notesSlide" Target="../notesSlides/notesSlide4.xml"/><Relationship Id="rId5" Type="http://schemas.openxmlformats.org/officeDocument/2006/relationships/slideLayout" Target="../slideLayouts/slideLayout2.xml"/><Relationship Id="rId4" Type="http://schemas.openxmlformats.org/officeDocument/2006/relationships/tags" Target="../tags/tag43.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22.bin"/><Relationship Id="rId13" Type="http://schemas.openxmlformats.org/officeDocument/2006/relationships/image" Target="../media/image15.png"/><Relationship Id="rId18" Type="http://schemas.openxmlformats.org/officeDocument/2006/relationships/image" Target="../media/image20.png"/><Relationship Id="rId26" Type="http://schemas.openxmlformats.org/officeDocument/2006/relationships/image" Target="../media/image28.png"/><Relationship Id="rId3" Type="http://schemas.openxmlformats.org/officeDocument/2006/relationships/tags" Target="../tags/tag45.xml"/><Relationship Id="rId21" Type="http://schemas.openxmlformats.org/officeDocument/2006/relationships/image" Target="../media/image23.png"/><Relationship Id="rId7" Type="http://schemas.openxmlformats.org/officeDocument/2006/relationships/notesSlide" Target="../notesSlides/notesSlide5.xml"/><Relationship Id="rId12" Type="http://schemas.openxmlformats.org/officeDocument/2006/relationships/image" Target="../media/image14.png"/><Relationship Id="rId17" Type="http://schemas.openxmlformats.org/officeDocument/2006/relationships/image" Target="../media/image19.png"/><Relationship Id="rId25" Type="http://schemas.openxmlformats.org/officeDocument/2006/relationships/image" Target="../media/image27.png"/><Relationship Id="rId2" Type="http://schemas.openxmlformats.org/officeDocument/2006/relationships/tags" Target="../tags/tag44.xml"/><Relationship Id="rId16" Type="http://schemas.openxmlformats.org/officeDocument/2006/relationships/image" Target="../media/image18.png"/><Relationship Id="rId20" Type="http://schemas.openxmlformats.org/officeDocument/2006/relationships/image" Target="../media/image22.png"/><Relationship Id="rId29" Type="http://schemas.openxmlformats.org/officeDocument/2006/relationships/image" Target="../media/image31.png"/><Relationship Id="rId1" Type="http://schemas.openxmlformats.org/officeDocument/2006/relationships/vmlDrawing" Target="../drawings/vmlDrawing22.vml"/><Relationship Id="rId6" Type="http://schemas.openxmlformats.org/officeDocument/2006/relationships/slideLayout" Target="../slideLayouts/slideLayout8.xml"/><Relationship Id="rId11" Type="http://schemas.openxmlformats.org/officeDocument/2006/relationships/image" Target="../media/image13.png"/><Relationship Id="rId24" Type="http://schemas.openxmlformats.org/officeDocument/2006/relationships/image" Target="../media/image26.png"/><Relationship Id="rId32" Type="http://schemas.openxmlformats.org/officeDocument/2006/relationships/image" Target="../media/image34.png"/><Relationship Id="rId5" Type="http://schemas.openxmlformats.org/officeDocument/2006/relationships/tags" Target="../tags/tag47.xml"/><Relationship Id="rId15" Type="http://schemas.openxmlformats.org/officeDocument/2006/relationships/image" Target="../media/image17.png"/><Relationship Id="rId23" Type="http://schemas.openxmlformats.org/officeDocument/2006/relationships/image" Target="../media/image25.png"/><Relationship Id="rId28" Type="http://schemas.openxmlformats.org/officeDocument/2006/relationships/image" Target="../media/image30.png"/><Relationship Id="rId10" Type="http://schemas.openxmlformats.org/officeDocument/2006/relationships/image" Target="../media/image12.png"/><Relationship Id="rId19" Type="http://schemas.openxmlformats.org/officeDocument/2006/relationships/image" Target="../media/image21.jfif"/><Relationship Id="rId31" Type="http://schemas.openxmlformats.org/officeDocument/2006/relationships/image" Target="../media/image33.png"/><Relationship Id="rId4" Type="http://schemas.openxmlformats.org/officeDocument/2006/relationships/tags" Target="../tags/tag46.xml"/><Relationship Id="rId9" Type="http://schemas.openxmlformats.org/officeDocument/2006/relationships/image" Target="../media/image11.emf"/><Relationship Id="rId14" Type="http://schemas.openxmlformats.org/officeDocument/2006/relationships/image" Target="../media/image16.png"/><Relationship Id="rId22" Type="http://schemas.openxmlformats.org/officeDocument/2006/relationships/image" Target="../media/image24.png"/><Relationship Id="rId27" Type="http://schemas.openxmlformats.org/officeDocument/2006/relationships/image" Target="../media/image29.png"/><Relationship Id="rId30" Type="http://schemas.openxmlformats.org/officeDocument/2006/relationships/image" Target="../media/image32.png"/></Relationships>
</file>

<file path=ppt/slides/_rels/slide6.xml.rels><?xml version="1.0" encoding="UTF-8" standalone="yes"?>
<Relationships xmlns="http://schemas.openxmlformats.org/package/2006/relationships"><Relationship Id="rId8" Type="http://schemas.openxmlformats.org/officeDocument/2006/relationships/tags" Target="../tags/tag55.xml"/><Relationship Id="rId3" Type="http://schemas.openxmlformats.org/officeDocument/2006/relationships/tags" Target="../tags/tag50.xml"/><Relationship Id="rId7" Type="http://schemas.openxmlformats.org/officeDocument/2006/relationships/tags" Target="../tags/tag54.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10" Type="http://schemas.openxmlformats.org/officeDocument/2006/relationships/notesSlide" Target="../notesSlides/notesSlide6.xml"/><Relationship Id="rId4" Type="http://schemas.openxmlformats.org/officeDocument/2006/relationships/tags" Target="../tags/tag51.xml"/><Relationship Id="rId9"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36.png"/><Relationship Id="rId2" Type="http://schemas.openxmlformats.org/officeDocument/2006/relationships/tags" Target="../tags/tag56.xml"/><Relationship Id="rId1" Type="http://schemas.openxmlformats.org/officeDocument/2006/relationships/vmlDrawing" Target="../drawings/vmlDrawing23.vml"/><Relationship Id="rId6" Type="http://schemas.openxmlformats.org/officeDocument/2006/relationships/image" Target="../media/image35.emf"/><Relationship Id="rId5" Type="http://schemas.openxmlformats.org/officeDocument/2006/relationships/oleObject" Target="../embeddings/oleObject23.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37.png"/><Relationship Id="rId2" Type="http://schemas.openxmlformats.org/officeDocument/2006/relationships/tags" Target="../tags/tag58.xml"/><Relationship Id="rId1" Type="http://schemas.openxmlformats.org/officeDocument/2006/relationships/vmlDrawing" Target="../drawings/vmlDrawing24.vml"/><Relationship Id="rId6" Type="http://schemas.openxmlformats.org/officeDocument/2006/relationships/image" Target="../media/image35.emf"/><Relationship Id="rId5" Type="http://schemas.openxmlformats.org/officeDocument/2006/relationships/oleObject" Target="../embeddings/oleObject24.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38.png"/><Relationship Id="rId2" Type="http://schemas.openxmlformats.org/officeDocument/2006/relationships/tags" Target="../tags/tag60.xml"/><Relationship Id="rId1" Type="http://schemas.openxmlformats.org/officeDocument/2006/relationships/vmlDrawing" Target="../drawings/vmlDrawing25.vml"/><Relationship Id="rId6" Type="http://schemas.openxmlformats.org/officeDocument/2006/relationships/image" Target="../media/image35.emf"/><Relationship Id="rId5" Type="http://schemas.openxmlformats.org/officeDocument/2006/relationships/oleObject" Target="../embeddings/oleObject25.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913751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AEDE253-2881-4AE5-B4DE-5911E978694C}"/>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Picture Placeholder 13"/>
          <p:cNvSpPr>
            <a:spLocks noGrp="1"/>
          </p:cNvSpPr>
          <p:nvPr>
            <p:ph type="pic" sz="quarter" idx="13"/>
          </p:nvPr>
        </p:nvSpPr>
        <p:spPr/>
      </p:sp>
      <p:sp>
        <p:nvSpPr>
          <p:cNvPr id="13" name="Text Placeholder 12"/>
          <p:cNvSpPr>
            <a:spLocks noGrp="1"/>
          </p:cNvSpPr>
          <p:nvPr>
            <p:ph type="body" sz="quarter" idx="12"/>
          </p:nvPr>
        </p:nvSpPr>
        <p:spPr/>
        <p:txBody>
          <a:bodyPr/>
          <a:lstStyle/>
          <a:p>
            <a:endParaRPr lang="en-US"/>
          </a:p>
        </p:txBody>
      </p:sp>
      <p:sp>
        <p:nvSpPr>
          <p:cNvPr id="12" name="Subtitle 11"/>
          <p:cNvSpPr>
            <a:spLocks noGrp="1"/>
          </p:cNvSpPr>
          <p:nvPr>
            <p:ph type="subTitle" idx="1"/>
          </p:nvPr>
        </p:nvSpPr>
        <p:spPr/>
        <p:txBody>
          <a:bodyPr/>
          <a:lstStyle/>
          <a:p>
            <a:endParaRPr lang="en-US"/>
          </a:p>
        </p:txBody>
      </p:sp>
      <p:sp>
        <p:nvSpPr>
          <p:cNvPr id="11" name="Title 10"/>
          <p:cNvSpPr>
            <a:spLocks noGrp="1"/>
          </p:cNvSpPr>
          <p:nvPr>
            <p:ph type="ctrTitle"/>
          </p:nvPr>
        </p:nvSpPr>
        <p:spPr/>
        <p:txBody>
          <a:bodyPr/>
          <a:lstStyle/>
          <a:p>
            <a:r>
              <a:rPr lang="en-US" dirty="0"/>
              <a:t>LAB Customization Playbook</a:t>
            </a:r>
          </a:p>
        </p:txBody>
      </p:sp>
      <p:sp>
        <p:nvSpPr>
          <p:cNvPr id="8" name="Textfeld 1">
            <a:extLst>
              <a:ext uri="{FF2B5EF4-FFF2-40B4-BE49-F238E27FC236}">
                <a16:creationId xmlns:a16="http://schemas.microsoft.com/office/drawing/2014/main" id="{C7ED108E-6317-43DA-BADC-04FB60B7C44B}"/>
              </a:ext>
            </a:extLst>
          </p:cNvPr>
          <p:cNvSpPr txBox="1"/>
          <p:nvPr>
            <p:custDataLst>
              <p:tags r:id="rId4"/>
            </p:custDataLst>
          </p:nvPr>
        </p:nvSpPr>
        <p:spPr>
          <a:xfrm rot="600000">
            <a:off x="3581400" y="3170468"/>
            <a:ext cx="5029200" cy="5170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spAutoFit/>
          </a:bodyPr>
          <a:lstStyle/>
          <a:p>
            <a:pPr algn="ctr">
              <a:lnSpc>
                <a:spcPct val="90000"/>
              </a:lnSpc>
              <a:spcAft>
                <a:spcPts val="600"/>
              </a:spcAft>
            </a:pPr>
            <a:r>
              <a:rPr lang="en-US" sz="3200" b="1" dirty="0">
                <a:solidFill>
                  <a:srgbClr val="000000"/>
                </a:solidFill>
                <a:sym typeface="Trebuchet MS" panose="020B0603020202020204" pitchFamily="34" charset="0"/>
              </a:rPr>
              <a:t>WORK IN PROGRESS</a:t>
            </a:r>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E334CF9-250F-495C-97D7-344DC770DB04}"/>
              </a:ext>
            </a:extLst>
          </p:cNvPr>
          <p:cNvGraphicFramePr>
            <a:graphicFrameLocks noChangeAspect="1"/>
          </p:cNvGraphicFramePr>
          <p:nvPr>
            <p:custDataLst>
              <p:tags r:id="rId3"/>
            </p:custDataLst>
            <p:extLst>
              <p:ext uri="{D42A27DB-BD31-4B8C-83A1-F6EECF244321}">
                <p14:modId xmlns:p14="http://schemas.microsoft.com/office/powerpoint/2010/main" val="697060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think-cell Slide" r:id="rId7" imgW="395" imgH="394" progId="TCLayout.ActiveDocument.1">
                  <p:embed/>
                </p:oleObj>
              </mc:Choice>
              <mc:Fallback>
                <p:oleObj name="think-cell Slide" r:id="rId7" imgW="395" imgH="394" progId="TCLayout.ActiveDocument.1">
                  <p:embed/>
                  <p:pic>
                    <p:nvPicPr>
                      <p:cNvPr id="3" name="Object 2" hidden="1">
                        <a:extLst>
                          <a:ext uri="{FF2B5EF4-FFF2-40B4-BE49-F238E27FC236}">
                            <a16:creationId xmlns:a16="http://schemas.microsoft.com/office/drawing/2014/main" id="{DE334CF9-250F-495C-97D7-344DC770DB0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59BFB6B-44D1-4598-8A15-33DD28649A3C}"/>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latin typeface="Trebuchet MS" panose="020B0603020202020204" pitchFamily="34" charset="0"/>
              <a:cs typeface="Arial" panose="020B0604020202020204" pitchFamily="34" charset="0"/>
              <a:sym typeface="Trebuchet MS" panose="020B0603020202020204" pitchFamily="34" charset="0"/>
            </a:endParaRPr>
          </a:p>
        </p:txBody>
      </p:sp>
      <p:sp>
        <p:nvSpPr>
          <p:cNvPr id="2" name="Title 1"/>
          <p:cNvSpPr>
            <a:spLocks noGrp="1"/>
          </p:cNvSpPr>
          <p:nvPr>
            <p:ph type="title"/>
          </p:nvPr>
        </p:nvSpPr>
        <p:spPr/>
        <p:txBody>
          <a:bodyPr/>
          <a:lstStyle/>
          <a:p>
            <a:r>
              <a:rPr lang="en-US" dirty="0"/>
              <a:t>How we can partner with you</a:t>
            </a:r>
          </a:p>
        </p:txBody>
      </p:sp>
    </p:spTree>
    <p:custDataLst>
      <p:tags r:id="rId2"/>
    </p:custDataLst>
    <p:extLst>
      <p:ext uri="{BB962C8B-B14F-4D97-AF65-F5344CB8AC3E}">
        <p14:creationId xmlns:p14="http://schemas.microsoft.com/office/powerpoint/2010/main" val="2799229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D09014-DAF1-411D-A299-489E69816F8C}"/>
              </a:ext>
            </a:extLst>
          </p:cNvPr>
          <p:cNvGraphicFramePr>
            <a:graphicFrameLocks noChangeAspect="1"/>
          </p:cNvGraphicFramePr>
          <p:nvPr>
            <p:custDataLst>
              <p:tags r:id="rId2"/>
            </p:custDataLst>
            <p:extLst>
              <p:ext uri="{D42A27DB-BD31-4B8C-83A1-F6EECF244321}">
                <p14:modId xmlns:p14="http://schemas.microsoft.com/office/powerpoint/2010/main" val="2791121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1" name="think-cell Slide" r:id="rId6" imgW="347" imgH="348" progId="TCLayout.ActiveDocument.1">
                  <p:embed/>
                </p:oleObj>
              </mc:Choice>
              <mc:Fallback>
                <p:oleObj name="think-cell Slide" r:id="rId6" imgW="347" imgH="34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D148E5-A581-46DE-A57B-63181F091F03}"/>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6F2039C9-9F0A-4C72-8A17-BF86B7C8776E}"/>
              </a:ext>
            </a:extLst>
          </p:cNvPr>
          <p:cNvSpPr>
            <a:spLocks noGrp="1"/>
          </p:cNvSpPr>
          <p:nvPr>
            <p:ph type="title"/>
          </p:nvPr>
        </p:nvSpPr>
        <p:spPr>
          <a:xfrm>
            <a:off x="630000" y="622800"/>
            <a:ext cx="10933200" cy="470898"/>
          </a:xfrm>
        </p:spPr>
        <p:txBody>
          <a:bodyPr/>
          <a:lstStyle/>
          <a:p>
            <a:r>
              <a:rPr lang="en-US" dirty="0"/>
              <a:t>LAB is supported by the Global </a:t>
            </a:r>
            <a:r>
              <a:rPr lang="en-US" dirty="0" err="1"/>
              <a:t>L&amp;D</a:t>
            </a:r>
            <a:r>
              <a:rPr lang="en-US" dirty="0"/>
              <a:t> Team</a:t>
            </a:r>
          </a:p>
        </p:txBody>
      </p:sp>
      <p:sp>
        <p:nvSpPr>
          <p:cNvPr id="5" name="ColumnHeader">
            <a:extLst>
              <a:ext uri="{FF2B5EF4-FFF2-40B4-BE49-F238E27FC236}">
                <a16:creationId xmlns:a16="http://schemas.microsoft.com/office/drawing/2014/main" id="{E9526783-2EC9-4849-8160-0CC737606317}"/>
              </a:ext>
            </a:extLst>
          </p:cNvPr>
          <p:cNvSpPr>
            <a:spLocks noChangeArrowheads="1"/>
          </p:cNvSpPr>
          <p:nvPr/>
        </p:nvSpPr>
        <p:spPr bwMode="gray">
          <a:xfrm>
            <a:off x="1210444" y="2321587"/>
            <a:ext cx="2581033" cy="2739211"/>
          </a:xfrm>
          <a:prstGeom prst="rect">
            <a:avLst/>
          </a:prstGeom>
        </p:spPr>
        <p:txBody>
          <a:bodyPr wrap="square" lIns="0" tIns="0" rIns="0" bIns="0" anchor="t" anchorCtr="0">
            <a:spAutoFit/>
          </a:bodyPr>
          <a:lstStyle/>
          <a:p>
            <a:pPr>
              <a:buSzPct val="100000"/>
              <a:buFont typeface="Trebuchet MS" panose="020B0603020202020204" pitchFamily="34" charset="0"/>
              <a:buChar char="​"/>
            </a:pPr>
            <a:r>
              <a:rPr lang="en-US" noProof="1">
                <a:solidFill>
                  <a:srgbClr val="29BA74"/>
                </a:solidFill>
                <a:cs typeface="Arial" panose="020B0604020202020204" pitchFamily="34" charset="0"/>
              </a:rPr>
              <a:t>Tom Guillou</a:t>
            </a:r>
          </a:p>
          <a:p>
            <a:pPr>
              <a:buSzPct val="100000"/>
              <a:buFont typeface="Trebuchet MS" panose="020B0603020202020204" pitchFamily="34" charset="0"/>
              <a:buChar char="​"/>
            </a:pPr>
            <a:r>
              <a:rPr lang="en-US" sz="1600" noProof="1">
                <a:solidFill>
                  <a:srgbClr val="7F7F7F"/>
                </a:solidFill>
                <a:cs typeface="Arial" panose="020B0604020202020204" pitchFamily="34" charset="0"/>
              </a:rPr>
              <a:t>Platform &amp; Analytics Director</a:t>
            </a:r>
            <a:br>
              <a:rPr lang="en-US" sz="1600" noProof="1">
                <a:solidFill>
                  <a:srgbClr val="7F7F7F"/>
                </a:solidFill>
                <a:cs typeface="Arial" panose="020B0604020202020204" pitchFamily="34" charset="0"/>
              </a:rPr>
            </a:br>
            <a:endParaRPr lang="en-US" sz="1600" noProof="1">
              <a:solidFill>
                <a:srgbClr val="7F7F7F"/>
              </a:solidFill>
              <a:cs typeface="Arial" panose="020B0604020202020204" pitchFamily="34" charset="0"/>
            </a:endParaRPr>
          </a:p>
          <a:p>
            <a:pPr>
              <a:buSzPct val="100000"/>
              <a:buFont typeface="Trebuchet MS" panose="020B0603020202020204" pitchFamily="34" charset="0"/>
              <a:buChar char="​"/>
            </a:pPr>
            <a:r>
              <a:rPr lang="en-US" sz="1600" noProof="1">
                <a:solidFill>
                  <a:srgbClr val="7F7F7F"/>
                </a:solidFill>
                <a:cs typeface="Arial" panose="020B0604020202020204" pitchFamily="34" charset="0"/>
              </a:rPr>
              <a:t>Boston</a:t>
            </a:r>
          </a:p>
          <a:p>
            <a:pPr>
              <a:buSzPct val="100000"/>
              <a:buFont typeface="Trebuchet MS" panose="020B0603020202020204" pitchFamily="34" charset="0"/>
              <a:buChar char="​"/>
            </a:pPr>
            <a:endParaRPr lang="en-US" sz="1600" noProof="1">
              <a:solidFill>
                <a:srgbClr val="7F7F7F"/>
              </a:solidFill>
              <a:cs typeface="Arial" panose="020B0604020202020204" pitchFamily="34" charset="0"/>
            </a:endParaRPr>
          </a:p>
          <a:p>
            <a:pPr>
              <a:buSzPct val="100000"/>
              <a:buFont typeface="Trebuchet MS" panose="020B0603020202020204" pitchFamily="34" charset="0"/>
              <a:buChar char="​"/>
            </a:pPr>
            <a:r>
              <a:rPr lang="en-US" sz="1600" noProof="1">
                <a:solidFill>
                  <a:srgbClr val="7F7F7F"/>
                </a:solidFill>
                <a:cs typeface="Arial" panose="020B0604020202020204" pitchFamily="34" charset="0"/>
              </a:rPr>
              <a:t>Series design and measurement/ communications strategy, best practices for recording content, editing </a:t>
            </a:r>
          </a:p>
        </p:txBody>
      </p:sp>
      <p:sp>
        <p:nvSpPr>
          <p:cNvPr id="6" name="ColumnHeader">
            <a:extLst>
              <a:ext uri="{FF2B5EF4-FFF2-40B4-BE49-F238E27FC236}">
                <a16:creationId xmlns:a16="http://schemas.microsoft.com/office/drawing/2014/main" id="{CC07D2AB-D03A-47E6-880E-C8DB9D528212}"/>
              </a:ext>
            </a:extLst>
          </p:cNvPr>
          <p:cNvSpPr>
            <a:spLocks noChangeArrowheads="1"/>
          </p:cNvSpPr>
          <p:nvPr/>
        </p:nvSpPr>
        <p:spPr bwMode="gray">
          <a:xfrm>
            <a:off x="4768145" y="2321587"/>
            <a:ext cx="2655709" cy="2000548"/>
          </a:xfrm>
          <a:prstGeom prst="rect">
            <a:avLst/>
          </a:prstGeom>
        </p:spPr>
        <p:txBody>
          <a:bodyPr wrap="square" lIns="0" tIns="0" rIns="0" bIns="0" anchor="t" anchorCtr="0">
            <a:spAutoFit/>
          </a:bodyPr>
          <a:lstStyle/>
          <a:p>
            <a:pPr>
              <a:buSzPct val="100000"/>
              <a:buFont typeface="Trebuchet MS" panose="020B0603020202020204" pitchFamily="34" charset="0"/>
              <a:buChar char="​"/>
            </a:pPr>
            <a:r>
              <a:rPr lang="en-US" noProof="1">
                <a:solidFill>
                  <a:srgbClr val="29BA74"/>
                </a:solidFill>
                <a:cs typeface="Arial" panose="020B0604020202020204" pitchFamily="34" charset="0"/>
              </a:rPr>
              <a:t>Kate Venier</a:t>
            </a:r>
          </a:p>
          <a:p>
            <a:pPr>
              <a:buSzPct val="100000"/>
              <a:buFont typeface="Trebuchet MS" panose="020B0603020202020204" pitchFamily="34" charset="0"/>
              <a:buChar char="​"/>
            </a:pPr>
            <a:r>
              <a:rPr lang="en-US" sz="1600" noProof="1">
                <a:solidFill>
                  <a:srgbClr val="7F7F7F"/>
                </a:solidFill>
                <a:cs typeface="Arial" panose="020B0604020202020204" pitchFamily="34" charset="0"/>
              </a:rPr>
              <a:t>Global L&amp;D Senior Manager</a:t>
            </a:r>
          </a:p>
          <a:p>
            <a:pPr>
              <a:buSzPct val="100000"/>
              <a:buFont typeface="Trebuchet MS" panose="020B0603020202020204" pitchFamily="34" charset="0"/>
              <a:buChar char="​"/>
            </a:pPr>
            <a:endParaRPr lang="en-US" sz="1600" noProof="1">
              <a:solidFill>
                <a:srgbClr val="7F7F7F"/>
              </a:solidFill>
              <a:cs typeface="Arial" panose="020B0604020202020204" pitchFamily="34" charset="0"/>
            </a:endParaRPr>
          </a:p>
          <a:p>
            <a:pPr>
              <a:buSzPct val="100000"/>
              <a:buFont typeface="Trebuchet MS" panose="020B0603020202020204" pitchFamily="34" charset="0"/>
              <a:buChar char="​"/>
            </a:pPr>
            <a:r>
              <a:rPr lang="en-US" sz="1600" noProof="1">
                <a:solidFill>
                  <a:srgbClr val="7F7F7F"/>
                </a:solidFill>
                <a:cs typeface="Arial" panose="020B0604020202020204" pitchFamily="34" charset="0"/>
              </a:rPr>
              <a:t>Boston</a:t>
            </a:r>
          </a:p>
          <a:p>
            <a:pPr>
              <a:buSzPct val="100000"/>
              <a:buFont typeface="Trebuchet MS" panose="020B0603020202020204" pitchFamily="34" charset="0"/>
              <a:buChar char="​"/>
            </a:pPr>
            <a:endParaRPr lang="en-US" sz="1600" noProof="1">
              <a:solidFill>
                <a:srgbClr val="7F7F7F"/>
              </a:solidFill>
              <a:cs typeface="Arial" panose="020B0604020202020204" pitchFamily="34" charset="0"/>
            </a:endParaRPr>
          </a:p>
          <a:p>
            <a:pPr>
              <a:buSzPct val="100000"/>
              <a:buFont typeface="Trebuchet MS" panose="020B0603020202020204" pitchFamily="34" charset="0"/>
              <a:buChar char="​"/>
            </a:pPr>
            <a:r>
              <a:rPr lang="en-US" sz="1600" noProof="1">
                <a:solidFill>
                  <a:srgbClr val="7F7F7F"/>
                </a:solidFill>
                <a:cs typeface="Arial" panose="020B0604020202020204" pitchFamily="34" charset="0"/>
              </a:rPr>
              <a:t>PM for Podcast App, Instructional Design, </a:t>
            </a:r>
            <a:br>
              <a:rPr lang="en-US" sz="1600" noProof="1">
                <a:solidFill>
                  <a:srgbClr val="7F7F7F"/>
                </a:solidFill>
                <a:cs typeface="Arial" panose="020B0604020202020204" pitchFamily="34" charset="0"/>
              </a:rPr>
            </a:br>
            <a:r>
              <a:rPr lang="en-US" sz="1600" noProof="1">
                <a:solidFill>
                  <a:srgbClr val="7F7F7F"/>
                </a:solidFill>
                <a:cs typeface="Arial" panose="020B0604020202020204" pitchFamily="34" charset="0"/>
              </a:rPr>
              <a:t>Learner Experience</a:t>
            </a:r>
          </a:p>
        </p:txBody>
      </p:sp>
      <p:sp>
        <p:nvSpPr>
          <p:cNvPr id="7" name="ColumnHeader">
            <a:extLst>
              <a:ext uri="{FF2B5EF4-FFF2-40B4-BE49-F238E27FC236}">
                <a16:creationId xmlns:a16="http://schemas.microsoft.com/office/drawing/2014/main" id="{6EDFA607-FFF9-46F5-BC2A-133D228607C5}"/>
              </a:ext>
            </a:extLst>
          </p:cNvPr>
          <p:cNvSpPr>
            <a:spLocks noChangeArrowheads="1"/>
          </p:cNvSpPr>
          <p:nvPr/>
        </p:nvSpPr>
        <p:spPr bwMode="gray">
          <a:xfrm>
            <a:off x="8106155" y="2321587"/>
            <a:ext cx="2623524" cy="2000548"/>
          </a:xfrm>
          <a:prstGeom prst="rect">
            <a:avLst/>
          </a:prstGeom>
        </p:spPr>
        <p:txBody>
          <a:bodyPr wrap="square" lIns="0" tIns="0" rIns="0" bIns="0" anchor="t" anchorCtr="0">
            <a:spAutoFit/>
          </a:bodyPr>
          <a:lstStyle/>
          <a:p>
            <a:pPr>
              <a:buSzPct val="100000"/>
              <a:buFont typeface="Trebuchet MS" panose="020B0603020202020204" pitchFamily="34" charset="0"/>
              <a:buChar char="​"/>
            </a:pPr>
            <a:r>
              <a:rPr lang="en-US" noProof="1">
                <a:solidFill>
                  <a:srgbClr val="29BA74"/>
                </a:solidFill>
                <a:cs typeface="Arial" panose="020B0604020202020204" pitchFamily="34" charset="0"/>
              </a:rPr>
              <a:t>Shobhit Bajaj</a:t>
            </a:r>
          </a:p>
          <a:p>
            <a:pPr>
              <a:buSzPct val="100000"/>
              <a:buFont typeface="Trebuchet MS" panose="020B0603020202020204" pitchFamily="34" charset="0"/>
              <a:buChar char="​"/>
            </a:pPr>
            <a:r>
              <a:rPr lang="en-US" sz="1600" noProof="1">
                <a:solidFill>
                  <a:srgbClr val="7F7F7F"/>
                </a:solidFill>
                <a:cs typeface="Arial" panose="020B0604020202020204" pitchFamily="34" charset="0"/>
              </a:rPr>
              <a:t>Global L&amp;D Senior Manager</a:t>
            </a:r>
            <a:br>
              <a:rPr lang="en-US" sz="1600" noProof="1">
                <a:solidFill>
                  <a:srgbClr val="7F7F7F"/>
                </a:solidFill>
                <a:cs typeface="Arial" panose="020B0604020202020204" pitchFamily="34" charset="0"/>
              </a:rPr>
            </a:br>
            <a:endParaRPr lang="en-US" sz="1600" noProof="1">
              <a:solidFill>
                <a:srgbClr val="7F7F7F"/>
              </a:solidFill>
              <a:cs typeface="Arial" panose="020B0604020202020204" pitchFamily="34" charset="0"/>
            </a:endParaRPr>
          </a:p>
          <a:p>
            <a:pPr>
              <a:buSzPct val="100000"/>
              <a:buFont typeface="Trebuchet MS" panose="020B0603020202020204" pitchFamily="34" charset="0"/>
              <a:buChar char="​"/>
            </a:pPr>
            <a:r>
              <a:rPr lang="en-US" sz="1600" noProof="1">
                <a:solidFill>
                  <a:srgbClr val="7F7F7F"/>
                </a:solidFill>
                <a:cs typeface="Arial" panose="020B0604020202020204" pitchFamily="34" charset="0"/>
              </a:rPr>
              <a:t>London</a:t>
            </a:r>
          </a:p>
          <a:p>
            <a:pPr>
              <a:buSzPct val="100000"/>
              <a:buFont typeface="Trebuchet MS" panose="020B0603020202020204" pitchFamily="34" charset="0"/>
              <a:buChar char="​"/>
            </a:pPr>
            <a:endParaRPr lang="en-US" sz="1600" noProof="1">
              <a:solidFill>
                <a:srgbClr val="7F7F7F"/>
              </a:solidFill>
              <a:cs typeface="Arial" panose="020B0604020202020204" pitchFamily="34" charset="0"/>
            </a:endParaRPr>
          </a:p>
          <a:p>
            <a:pPr>
              <a:buSzPct val="100000"/>
              <a:buFont typeface="Trebuchet MS" panose="020B0603020202020204" pitchFamily="34" charset="0"/>
              <a:buChar char="​"/>
            </a:pPr>
            <a:r>
              <a:rPr lang="en-US" sz="1600" noProof="1">
                <a:solidFill>
                  <a:srgbClr val="7F7F7F"/>
                </a:solidFill>
                <a:cs typeface="Arial" panose="020B0604020202020204" pitchFamily="34" charset="0"/>
              </a:rPr>
              <a:t>Scheduling, technical logistics (equipment, day-of support), and support</a:t>
            </a:r>
          </a:p>
        </p:txBody>
      </p:sp>
      <p:sp>
        <p:nvSpPr>
          <p:cNvPr id="8" name="Textfeld 1">
            <a:extLst>
              <a:ext uri="{FF2B5EF4-FFF2-40B4-BE49-F238E27FC236}">
                <a16:creationId xmlns:a16="http://schemas.microsoft.com/office/drawing/2014/main" id="{BADAA046-A8C1-4045-BE0C-76CBDD0B6DDE}"/>
              </a:ext>
            </a:extLst>
          </p:cNvPr>
          <p:cNvSpPr txBox="1"/>
          <p:nvPr>
            <p:custDataLst>
              <p:tags r:id="rId4"/>
            </p:custDataLst>
          </p:nvPr>
        </p:nvSpPr>
        <p:spPr>
          <a:xfrm>
            <a:off x="25200" y="1015200"/>
            <a:ext cx="2743200" cy="113569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28.Sep.20:
example</a:t>
            </a:r>
          </a:p>
          <a:p>
            <a:pPr>
              <a:lnSpc>
                <a:spcPct val="90000"/>
              </a:lnSpc>
              <a:spcAft>
                <a:spcPts val="600"/>
              </a:spcAft>
            </a:pPr>
            <a:endParaRPr lang="en-US" sz="1200" b="1" dirty="0">
              <a:solidFill>
                <a:srgbClr val="575757"/>
              </a:solidFill>
              <a:sym typeface="Trebuchet MS" panose="020B0603020202020204" pitchFamily="34" charset="0"/>
            </a:endParaRPr>
          </a:p>
          <a:p>
            <a:pPr>
              <a:lnSpc>
                <a:spcPct val="90000"/>
              </a:lnSpc>
              <a:spcAft>
                <a:spcPts val="600"/>
              </a:spcAft>
            </a:pPr>
            <a:r>
              <a:rPr lang="en-US" sz="1200" b="1" dirty="0">
                <a:solidFill>
                  <a:srgbClr val="575757"/>
                </a:solidFill>
                <a:sym typeface="Trebuchet MS" panose="020B0603020202020204" pitchFamily="34" charset="0"/>
              </a:rPr>
              <a:t>Who are the right people for this slide from </a:t>
            </a:r>
            <a:r>
              <a:rPr lang="en-US" sz="1200" b="1" dirty="0" err="1">
                <a:solidFill>
                  <a:srgbClr val="575757"/>
                </a:solidFill>
                <a:sym typeface="Trebuchet MS" panose="020B0603020202020204" pitchFamily="34" charset="0"/>
              </a:rPr>
              <a:t>L&amp;D</a:t>
            </a:r>
            <a:r>
              <a:rPr lang="en-US" sz="1200" b="1" dirty="0">
                <a:solidFill>
                  <a:srgbClr val="575757"/>
                </a:solidFill>
                <a:sym typeface="Trebuchet MS" panose="020B0603020202020204" pitchFamily="34" charset="0"/>
              </a:rPr>
              <a:t> and systems team</a:t>
            </a:r>
          </a:p>
        </p:txBody>
      </p:sp>
    </p:spTree>
    <p:extLst>
      <p:ext uri="{BB962C8B-B14F-4D97-AF65-F5344CB8AC3E}">
        <p14:creationId xmlns:p14="http://schemas.microsoft.com/office/powerpoint/2010/main" val="1822252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901B442-72C8-408A-97AE-BA0EF8F9DF96}"/>
              </a:ext>
            </a:extLst>
          </p:cNvPr>
          <p:cNvGraphicFramePr>
            <a:graphicFrameLocks noChangeAspect="1"/>
          </p:cNvGraphicFramePr>
          <p:nvPr>
            <p:custDataLst>
              <p:tags r:id="rId2"/>
            </p:custDataLst>
            <p:extLst>
              <p:ext uri="{D42A27DB-BD31-4B8C-83A1-F6EECF244321}">
                <p14:modId xmlns:p14="http://schemas.microsoft.com/office/powerpoint/2010/main" val="317421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5"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152A9A5-7DB6-4A9B-BBF7-BEF50C01DAE2}"/>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39164B5F-C448-4C7F-8ED4-93DD29C7D3B1}"/>
              </a:ext>
            </a:extLst>
          </p:cNvPr>
          <p:cNvSpPr>
            <a:spLocks noGrp="1"/>
          </p:cNvSpPr>
          <p:nvPr>
            <p:ph type="title"/>
          </p:nvPr>
        </p:nvSpPr>
        <p:spPr/>
        <p:txBody>
          <a:bodyPr/>
          <a:lstStyle/>
          <a:p>
            <a:r>
              <a:rPr lang="en-US" dirty="0"/>
              <a:t>Lifecycle of a Customized LAB Experience</a:t>
            </a:r>
          </a:p>
        </p:txBody>
      </p:sp>
      <p:pic>
        <p:nvPicPr>
          <p:cNvPr id="6" name="Picture 5" descr="Timeline&#10;&#10;Description automatically generated">
            <a:extLst>
              <a:ext uri="{FF2B5EF4-FFF2-40B4-BE49-F238E27FC236}">
                <a16:creationId xmlns:a16="http://schemas.microsoft.com/office/drawing/2014/main" id="{91F80C35-F8B4-418F-9811-672E1A2606C7}"/>
              </a:ext>
            </a:extLst>
          </p:cNvPr>
          <p:cNvPicPr>
            <a:picLocks noChangeAspect="1"/>
          </p:cNvPicPr>
          <p:nvPr/>
        </p:nvPicPr>
        <p:blipFill>
          <a:blip r:embed="rId7"/>
          <a:stretch>
            <a:fillRect/>
          </a:stretch>
        </p:blipFill>
        <p:spPr>
          <a:xfrm>
            <a:off x="0" y="0"/>
            <a:ext cx="12192000" cy="6858000"/>
          </a:xfrm>
          <a:prstGeom prst="rect">
            <a:avLst/>
          </a:prstGeom>
        </p:spPr>
      </p:pic>
    </p:spTree>
    <p:extLst>
      <p:ext uri="{BB962C8B-B14F-4D97-AF65-F5344CB8AC3E}">
        <p14:creationId xmlns:p14="http://schemas.microsoft.com/office/powerpoint/2010/main" val="323979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D58D6-1D0E-4B4D-B780-169BD12454F9}"/>
              </a:ext>
            </a:extLst>
          </p:cNvPr>
          <p:cNvGraphicFramePr>
            <a:graphicFrameLocks noChangeAspect="1"/>
          </p:cNvGraphicFramePr>
          <p:nvPr>
            <p:custDataLst>
              <p:tags r:id="rId2"/>
            </p:custDataLst>
            <p:extLst>
              <p:ext uri="{D42A27DB-BD31-4B8C-83A1-F6EECF244321}">
                <p14:modId xmlns:p14="http://schemas.microsoft.com/office/powerpoint/2010/main" val="2853390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0" name="think-cell Slide" r:id="rId6" imgW="347" imgH="348" progId="TCLayout.ActiveDocument.1">
                  <p:embed/>
                </p:oleObj>
              </mc:Choice>
              <mc:Fallback>
                <p:oleObj name="think-cell Slide" r:id="rId6" imgW="347" imgH="34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F563CE8-318B-470C-82FF-3C8245D3DE5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A04BE4B9-56B9-4A4A-865E-287AD0FC51A2}"/>
              </a:ext>
            </a:extLst>
          </p:cNvPr>
          <p:cNvSpPr>
            <a:spLocks noGrp="1"/>
          </p:cNvSpPr>
          <p:nvPr>
            <p:ph type="title"/>
          </p:nvPr>
        </p:nvSpPr>
        <p:spPr/>
        <p:txBody>
          <a:bodyPr/>
          <a:lstStyle/>
          <a:p>
            <a:r>
              <a:rPr lang="en-US" dirty="0"/>
              <a:t>Understanding Your Needs</a:t>
            </a:r>
          </a:p>
        </p:txBody>
      </p:sp>
      <p:pic>
        <p:nvPicPr>
          <p:cNvPr id="8" name="Picture 7">
            <a:extLst>
              <a:ext uri="{FF2B5EF4-FFF2-40B4-BE49-F238E27FC236}">
                <a16:creationId xmlns:a16="http://schemas.microsoft.com/office/drawing/2014/main" id="{9CF4ACD6-1525-4570-A141-76671E3B5C37}"/>
              </a:ext>
            </a:extLst>
          </p:cNvPr>
          <p:cNvPicPr>
            <a:picLocks noChangeAspect="1"/>
          </p:cNvPicPr>
          <p:nvPr/>
        </p:nvPicPr>
        <p:blipFill>
          <a:blip r:embed="rId8"/>
          <a:stretch>
            <a:fillRect/>
          </a:stretch>
        </p:blipFill>
        <p:spPr>
          <a:xfrm>
            <a:off x="0" y="0"/>
            <a:ext cx="12192000" cy="6858000"/>
          </a:xfrm>
          <a:prstGeom prst="rect">
            <a:avLst/>
          </a:prstGeom>
        </p:spPr>
      </p:pic>
    </p:spTree>
    <p:extLst>
      <p:ext uri="{BB962C8B-B14F-4D97-AF65-F5344CB8AC3E}">
        <p14:creationId xmlns:p14="http://schemas.microsoft.com/office/powerpoint/2010/main" val="4167793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E334CF9-250F-495C-97D7-344DC770DB04}"/>
              </a:ext>
            </a:extLst>
          </p:cNvPr>
          <p:cNvGraphicFramePr>
            <a:graphicFrameLocks noChangeAspect="1"/>
          </p:cNvGraphicFramePr>
          <p:nvPr>
            <p:custDataLst>
              <p:tags r:id="rId3"/>
            </p:custDataLst>
            <p:extLst>
              <p:ext uri="{D42A27DB-BD31-4B8C-83A1-F6EECF244321}">
                <p14:modId xmlns:p14="http://schemas.microsoft.com/office/powerpoint/2010/main" val="1788191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think-cell Slide" r:id="rId9" imgW="395" imgH="394" progId="TCLayout.ActiveDocument.1">
                  <p:embed/>
                </p:oleObj>
              </mc:Choice>
              <mc:Fallback>
                <p:oleObj name="think-cell Slide" r:id="rId9" imgW="395" imgH="394" progId="TCLayout.ActiveDocument.1">
                  <p:embed/>
                  <p:pic>
                    <p:nvPicPr>
                      <p:cNvPr id="3" name="Object 2" hidden="1">
                        <a:extLst>
                          <a:ext uri="{FF2B5EF4-FFF2-40B4-BE49-F238E27FC236}">
                            <a16:creationId xmlns:a16="http://schemas.microsoft.com/office/drawing/2014/main" id="{DE334CF9-250F-495C-97D7-344DC770DB0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59BFB6B-44D1-4598-8A15-33DD28649A3C}"/>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latin typeface="Trebuchet MS" panose="020B0603020202020204" pitchFamily="34" charset="0"/>
              <a:cs typeface="Arial" panose="020B0604020202020204" pitchFamily="34" charset="0"/>
              <a:sym typeface="Trebuchet MS" panose="020B0603020202020204" pitchFamily="34" charset="0"/>
            </a:endParaRPr>
          </a:p>
        </p:txBody>
      </p:sp>
      <p:sp>
        <p:nvSpPr>
          <p:cNvPr id="2" name="Title 1"/>
          <p:cNvSpPr>
            <a:spLocks noGrp="1"/>
          </p:cNvSpPr>
          <p:nvPr>
            <p:ph type="title"/>
          </p:nvPr>
        </p:nvSpPr>
        <p:spPr/>
        <p:txBody>
          <a:bodyPr/>
          <a:lstStyle/>
          <a:p>
            <a:r>
              <a:rPr lang="en-US" dirty="0"/>
              <a:t>Operations</a:t>
            </a:r>
          </a:p>
        </p:txBody>
      </p:sp>
      <p:sp>
        <p:nvSpPr>
          <p:cNvPr id="7" name="Textfeld 1">
            <a:extLst>
              <a:ext uri="{FF2B5EF4-FFF2-40B4-BE49-F238E27FC236}">
                <a16:creationId xmlns:a16="http://schemas.microsoft.com/office/drawing/2014/main" id="{C58BDDEE-DC2B-4253-97A6-9AEF50821A2C}"/>
              </a:ext>
            </a:extLst>
          </p:cNvPr>
          <p:cNvSpPr txBox="1"/>
          <p:nvPr>
            <p:custDataLst>
              <p:tags r:id="rId5"/>
            </p:custDataLst>
          </p:nvPr>
        </p:nvSpPr>
        <p:spPr>
          <a:xfrm>
            <a:off x="2102093" y="1741758"/>
            <a:ext cx="2743200" cy="2797689"/>
          </a:xfrm>
          <a:prstGeom prst="rect">
            <a:avLst/>
          </a:prstGeom>
          <a:pattFill>
            <a:fgClr>
              <a:srgbClr val="40FEFE"/>
            </a:fgClr>
            <a:bgClr>
              <a:srgbClr val="40FEFE"/>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RP 15.Sep.20:
I think we should include and I added some notes to the previous slides on this.</a:t>
            </a:r>
          </a:p>
          <a:p>
            <a:pPr>
              <a:lnSpc>
                <a:spcPct val="90000"/>
              </a:lnSpc>
              <a:spcAft>
                <a:spcPts val="600"/>
              </a:spcAft>
            </a:pPr>
            <a:endParaRPr lang="en-US" sz="1200" b="1" dirty="0">
              <a:solidFill>
                <a:srgbClr val="575757"/>
              </a:solidFill>
              <a:sym typeface="Trebuchet MS" panose="020B0603020202020204" pitchFamily="34" charset="0"/>
            </a:endParaRPr>
          </a:p>
          <a:p>
            <a:pPr>
              <a:lnSpc>
                <a:spcPct val="90000"/>
              </a:lnSpc>
              <a:spcAft>
                <a:spcPts val="600"/>
              </a:spcAft>
            </a:pPr>
            <a:r>
              <a:rPr lang="en-US" sz="1200" b="1" dirty="0">
                <a:solidFill>
                  <a:srgbClr val="575757"/>
                </a:solidFill>
                <a:sym typeface="Trebuchet MS" panose="020B0603020202020204" pitchFamily="34" charset="0"/>
              </a:rPr>
              <a:t>I feel that the resourcing and skills ABMs have for the operations in ongoing basis will drive a lot of the decisions when we plan the scope for implementation. Depending on their resources &amp; skills they might need to take more basic approach – or they might be able to be very independent and push LAB to it's limits with designs etc.</a:t>
            </a:r>
          </a:p>
        </p:txBody>
      </p:sp>
      <p:sp>
        <p:nvSpPr>
          <p:cNvPr id="8" name="Textfeld 1">
            <a:extLst>
              <a:ext uri="{FF2B5EF4-FFF2-40B4-BE49-F238E27FC236}">
                <a16:creationId xmlns:a16="http://schemas.microsoft.com/office/drawing/2014/main" id="{EE9300F9-93C6-4AF7-A426-8196514A7939}"/>
              </a:ext>
            </a:extLst>
          </p:cNvPr>
          <p:cNvSpPr txBox="1"/>
          <p:nvPr>
            <p:custDataLst>
              <p:tags r:id="rId6"/>
            </p:custDataLst>
          </p:nvPr>
        </p:nvSpPr>
        <p:spPr>
          <a:xfrm>
            <a:off x="5294723" y="1741758"/>
            <a:ext cx="2743200" cy="1314206"/>
          </a:xfrm>
          <a:prstGeom prst="rect">
            <a:avLst/>
          </a:prstGeom>
          <a:pattFill>
            <a:fgClr>
              <a:srgbClr val="7FFA00"/>
            </a:fgClr>
            <a:bgClr>
              <a:srgbClr val="7FFA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Shobhit 16.Sep.20:
It's definitely worth including, especially if we can use it to highlight what options are available for </a:t>
            </a:r>
            <a:r>
              <a:rPr lang="en-US" sz="1200" b="1" dirty="0" err="1">
                <a:solidFill>
                  <a:srgbClr val="575757"/>
                </a:solidFill>
                <a:sym typeface="Trebuchet MS" panose="020B0603020202020204" pitchFamily="34" charset="0"/>
              </a:rPr>
              <a:t>L&amp;D</a:t>
            </a:r>
            <a:r>
              <a:rPr lang="en-US" sz="1200" b="1" dirty="0">
                <a:solidFill>
                  <a:srgbClr val="575757"/>
                </a:solidFill>
                <a:sym typeface="Trebuchet MS" panose="020B0603020202020204" pitchFamily="34" charset="0"/>
              </a:rPr>
              <a:t> teams to upskill / certify on Saba Cloud features. This would be key to the self-service option.</a:t>
            </a:r>
          </a:p>
        </p:txBody>
      </p:sp>
    </p:spTree>
    <p:custDataLst>
      <p:tags r:id="rId2"/>
    </p:custDataLst>
    <p:extLst>
      <p:ext uri="{BB962C8B-B14F-4D97-AF65-F5344CB8AC3E}">
        <p14:creationId xmlns:p14="http://schemas.microsoft.com/office/powerpoint/2010/main" val="786930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CDECAD7-F004-4265-803B-D1AF625A97BE}"/>
              </a:ext>
            </a:extLst>
          </p:cNvPr>
          <p:cNvGraphicFramePr>
            <a:graphicFrameLocks noChangeAspect="1"/>
          </p:cNvGraphicFramePr>
          <p:nvPr>
            <p:custDataLst>
              <p:tags r:id="rId2"/>
            </p:custDataLst>
            <p:extLst>
              <p:ext uri="{D42A27DB-BD31-4B8C-83A1-F6EECF244321}">
                <p14:modId xmlns:p14="http://schemas.microsoft.com/office/powerpoint/2010/main" val="4059798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Slide" r:id="rId8" imgW="395" imgH="394" progId="TCLayout.ActiveDocument.1">
                  <p:embed/>
                </p:oleObj>
              </mc:Choice>
              <mc:Fallback>
                <p:oleObj name="think-cell Slide" r:id="rId8" imgW="395" imgH="394" progId="TCLayout.ActiveDocument.1">
                  <p:embed/>
                  <p:pic>
                    <p:nvPicPr>
                      <p:cNvPr id="4" name="Object 3" hidden="1">
                        <a:extLst>
                          <a:ext uri="{FF2B5EF4-FFF2-40B4-BE49-F238E27FC236}">
                            <a16:creationId xmlns:a16="http://schemas.microsoft.com/office/drawing/2014/main" id="{DCDECAD7-F004-4265-803B-D1AF625A97B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6B8C21E-B955-47F8-9493-F453C490CF70}"/>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Executing on your LAB initiative</a:t>
            </a:r>
          </a:p>
        </p:txBody>
      </p:sp>
      <p:sp>
        <p:nvSpPr>
          <p:cNvPr id="6" name="Textfeld 1">
            <a:extLst>
              <a:ext uri="{FF2B5EF4-FFF2-40B4-BE49-F238E27FC236}">
                <a16:creationId xmlns:a16="http://schemas.microsoft.com/office/drawing/2014/main" id="{0127F3AD-7659-4568-B4A6-A624381B70C3}"/>
              </a:ext>
            </a:extLst>
          </p:cNvPr>
          <p:cNvSpPr txBox="1"/>
          <p:nvPr>
            <p:custDataLst>
              <p:tags r:id="rId4"/>
            </p:custDataLst>
          </p:nvPr>
        </p:nvSpPr>
        <p:spPr>
          <a:xfrm>
            <a:off x="25200" y="1015201"/>
            <a:ext cx="4229300" cy="5296835"/>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r>
              <a:rPr lang="en-US" sz="1400" dirty="0"/>
              <a:t>Guidelines on requirements, resourcing, support</a:t>
            </a:r>
          </a:p>
          <a:p>
            <a:endParaRPr lang="en-US" sz="1400" dirty="0"/>
          </a:p>
          <a:p>
            <a:r>
              <a:rPr lang="en-US" sz="1400" dirty="0"/>
              <a:t>From PO:</a:t>
            </a:r>
          </a:p>
          <a:p>
            <a:pPr>
              <a:lnSpc>
                <a:spcPct val="90000"/>
              </a:lnSpc>
              <a:spcAft>
                <a:spcPts val="600"/>
              </a:spcAft>
            </a:pPr>
            <a:r>
              <a:rPr lang="en-US" sz="1400" b="1" dirty="0">
                <a:solidFill>
                  <a:srgbClr val="575757"/>
                </a:solidFill>
                <a:sym typeface="Trebuchet MS" panose="020B0603020202020204" pitchFamily="34" charset="0"/>
              </a:rPr>
              <a:t>I agree we need 2 sections for the resourcing: </a:t>
            </a:r>
          </a:p>
          <a:p>
            <a:pPr marL="228600" indent="-228600">
              <a:lnSpc>
                <a:spcPct val="90000"/>
              </a:lnSpc>
              <a:spcAft>
                <a:spcPts val="600"/>
              </a:spcAft>
              <a:buAutoNum type="arabicParenR"/>
            </a:pPr>
            <a:r>
              <a:rPr lang="en-US" sz="1400" b="1" dirty="0">
                <a:solidFill>
                  <a:srgbClr val="575757"/>
                </a:solidFill>
                <a:sym typeface="Trebuchet MS" panose="020B0603020202020204" pitchFamily="34" charset="0"/>
              </a:rPr>
              <a:t>what is needed for implementation phase from both the ABM (do they have web design, UI/</a:t>
            </a:r>
            <a:r>
              <a:rPr lang="en-US" sz="1400" b="1" dirty="0" err="1">
                <a:solidFill>
                  <a:srgbClr val="575757"/>
                </a:solidFill>
                <a:sym typeface="Trebuchet MS" panose="020B0603020202020204" pitchFamily="34" charset="0"/>
              </a:rPr>
              <a:t>UX</a:t>
            </a:r>
            <a:r>
              <a:rPr lang="en-US" sz="1400" b="1" dirty="0">
                <a:solidFill>
                  <a:srgbClr val="575757"/>
                </a:solidFill>
                <a:sym typeface="Trebuchet MS" panose="020B0603020202020204" pitchFamily="34" charset="0"/>
              </a:rPr>
              <a:t>, design studio expertise) and from 'us'</a:t>
            </a:r>
          </a:p>
          <a:p>
            <a:pPr marL="228600" indent="-228600">
              <a:lnSpc>
                <a:spcPct val="90000"/>
              </a:lnSpc>
              <a:spcAft>
                <a:spcPts val="600"/>
              </a:spcAft>
              <a:buAutoNum type="arabicParenR"/>
            </a:pPr>
            <a:r>
              <a:rPr lang="en-US" sz="1400" b="1" dirty="0">
                <a:solidFill>
                  <a:srgbClr val="575757"/>
                </a:solidFill>
                <a:sym typeface="Trebuchet MS" panose="020B0603020202020204" pitchFamily="34" charset="0"/>
              </a:rPr>
              <a:t>what is needed for </a:t>
            </a:r>
            <a:r>
              <a:rPr lang="en-US" sz="1400" b="1" dirty="0" err="1">
                <a:solidFill>
                  <a:srgbClr val="575757"/>
                </a:solidFill>
                <a:sym typeface="Trebuchet MS" panose="020B0603020202020204" pitchFamily="34" charset="0"/>
              </a:rPr>
              <a:t>RtB</a:t>
            </a:r>
            <a:r>
              <a:rPr lang="en-US" sz="1400" b="1" dirty="0">
                <a:solidFill>
                  <a:srgbClr val="575757"/>
                </a:solidFill>
                <a:sym typeface="Trebuchet MS" panose="020B0603020202020204" pitchFamily="34" charset="0"/>
              </a:rPr>
              <a:t> mode. And here we need clarity from </a:t>
            </a:r>
            <a:r>
              <a:rPr lang="en-US" sz="1400" b="1" dirty="0" err="1">
                <a:solidFill>
                  <a:srgbClr val="575757"/>
                </a:solidFill>
                <a:sym typeface="Trebuchet MS" panose="020B0603020202020204" pitchFamily="34" charset="0"/>
              </a:rPr>
              <a:t>L&amp;D</a:t>
            </a:r>
            <a:r>
              <a:rPr lang="en-US" sz="1400" b="1" dirty="0">
                <a:solidFill>
                  <a:srgbClr val="575757"/>
                </a:solidFill>
                <a:sym typeface="Trebuchet MS" panose="020B0603020202020204" pitchFamily="34" charset="0"/>
              </a:rPr>
              <a:t> team; what support they can offer in ongoing basis (content uploads, visuals for announcements etc.) and from systems team (do we offer the service to update their workspaces and announcements or do we give access &amp; train someone from ABM to do this on their own)</a:t>
            </a:r>
          </a:p>
          <a:p>
            <a:pPr marL="228600" indent="-228600">
              <a:lnSpc>
                <a:spcPct val="90000"/>
              </a:lnSpc>
              <a:spcAft>
                <a:spcPts val="600"/>
              </a:spcAft>
              <a:buAutoNum type="arabicParenR"/>
            </a:pPr>
            <a:endParaRPr lang="en-US" sz="1400" b="1" dirty="0">
              <a:solidFill>
                <a:srgbClr val="575757"/>
              </a:solidFill>
              <a:sym typeface="Trebuchet MS" panose="020B0603020202020204" pitchFamily="34" charset="0"/>
            </a:endParaRPr>
          </a:p>
          <a:p>
            <a:pPr>
              <a:lnSpc>
                <a:spcPct val="90000"/>
              </a:lnSpc>
              <a:spcAft>
                <a:spcPts val="600"/>
              </a:spcAft>
            </a:pPr>
            <a:r>
              <a:rPr lang="en-US" sz="1400" b="1" dirty="0">
                <a:solidFill>
                  <a:srgbClr val="575757"/>
                </a:solidFill>
                <a:sym typeface="Trebuchet MS" panose="020B0603020202020204" pitchFamily="34" charset="0"/>
              </a:rPr>
              <a:t>We should include a note that the technical tickets will be managed via ServiceNow. </a:t>
            </a:r>
          </a:p>
          <a:p>
            <a:pPr>
              <a:lnSpc>
                <a:spcPct val="90000"/>
              </a:lnSpc>
              <a:spcAft>
                <a:spcPts val="600"/>
              </a:spcAft>
            </a:pPr>
            <a:r>
              <a:rPr lang="en-US" sz="1400" b="1" dirty="0">
                <a:solidFill>
                  <a:srgbClr val="575757"/>
                </a:solidFill>
                <a:sym typeface="Trebuchet MS" panose="020B0603020202020204" pitchFamily="34" charset="0"/>
              </a:rPr>
              <a:t>However, ABM might have their own support channel for other learning related issues so instead of directing them to </a:t>
            </a:r>
            <a:r>
              <a:rPr lang="en-US" sz="1400" b="1" dirty="0">
                <a:solidFill>
                  <a:srgbClr val="575757"/>
                </a:solidFill>
                <a:sym typeface="Trebuchet MS" panose="020B0603020202020204" pitchFamily="34" charset="0"/>
                <a:hlinkClick r:id="rId10"/>
              </a:rPr>
              <a:t>learning@bcg.com</a:t>
            </a:r>
            <a:r>
              <a:rPr lang="en-US" sz="1400" b="1" dirty="0">
                <a:solidFill>
                  <a:srgbClr val="575757"/>
                </a:solidFill>
                <a:sym typeface="Trebuchet MS" panose="020B0603020202020204" pitchFamily="34" charset="0"/>
              </a:rPr>
              <a:t> we might need to link them somewhere else..</a:t>
            </a:r>
          </a:p>
          <a:p>
            <a:endParaRPr lang="en-US" sz="1400" dirty="0"/>
          </a:p>
          <a:p>
            <a:endParaRPr lang="en-US" sz="1400" dirty="0"/>
          </a:p>
        </p:txBody>
      </p:sp>
      <p:sp>
        <p:nvSpPr>
          <p:cNvPr id="7" name="Textfeld 1">
            <a:extLst>
              <a:ext uri="{FF2B5EF4-FFF2-40B4-BE49-F238E27FC236}">
                <a16:creationId xmlns:a16="http://schemas.microsoft.com/office/drawing/2014/main" id="{23DD49BB-E426-4C26-AAE1-36172484FFDB}"/>
              </a:ext>
            </a:extLst>
          </p:cNvPr>
          <p:cNvSpPr txBox="1"/>
          <p:nvPr>
            <p:custDataLst>
              <p:tags r:id="rId5"/>
            </p:custDataLst>
          </p:nvPr>
        </p:nvSpPr>
        <p:spPr>
          <a:xfrm>
            <a:off x="15082" y="53816"/>
            <a:ext cx="2743200" cy="483209"/>
          </a:xfrm>
          <a:prstGeom prst="rect">
            <a:avLst/>
          </a:prstGeom>
          <a:pattFill>
            <a:fgClr>
              <a:srgbClr val="7FFA00"/>
            </a:fgClr>
            <a:bgClr>
              <a:srgbClr val="7FFA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12.Feb.21:
Charles to add </a:t>
            </a:r>
          </a:p>
        </p:txBody>
      </p:sp>
    </p:spTree>
    <p:extLst>
      <p:ext uri="{BB962C8B-B14F-4D97-AF65-F5344CB8AC3E}">
        <p14:creationId xmlns:p14="http://schemas.microsoft.com/office/powerpoint/2010/main" val="4053581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602C17F-7EF1-439D-90F1-C61FC349C73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C602C17F-7EF1-439D-90F1-C61FC349C73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6433A4-0561-4DB3-9C89-D6D4358FE817}"/>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a:extLst>
              <a:ext uri="{FF2B5EF4-FFF2-40B4-BE49-F238E27FC236}">
                <a16:creationId xmlns:a16="http://schemas.microsoft.com/office/drawing/2014/main" id="{A2C4B148-3AB2-4046-9098-0B9F0BD21250}"/>
              </a:ext>
            </a:extLst>
          </p:cNvPr>
          <p:cNvSpPr>
            <a:spLocks noGrp="1"/>
          </p:cNvSpPr>
          <p:nvPr>
            <p:ph type="title"/>
          </p:nvPr>
        </p:nvSpPr>
        <p:spPr>
          <a:xfrm>
            <a:off x="630000" y="622800"/>
            <a:ext cx="10933200" cy="470898"/>
          </a:xfrm>
          <a:prstGeom prst="rect">
            <a:avLst/>
          </a:prstGeom>
        </p:spPr>
        <p:txBody>
          <a:bodyPr>
            <a:spAutoFit/>
          </a:bodyPr>
          <a:lstStyle/>
          <a:p>
            <a:pPr>
              <a:buSzPct val="100000"/>
            </a:pPr>
            <a:r>
              <a:rPr lang="en-US" dirty="0">
                <a:solidFill>
                  <a:schemeClr val="tx2"/>
                </a:solidFill>
                <a:latin typeface="Trebuchet MS" panose="020B0603020202020204" pitchFamily="34" charset="0"/>
              </a:rPr>
              <a:t>LABcasts are categorized into three service levels</a:t>
            </a:r>
          </a:p>
        </p:txBody>
      </p:sp>
      <p:sp>
        <p:nvSpPr>
          <p:cNvPr id="27" name="ee4pContent1">
            <a:extLst>
              <a:ext uri="{FF2B5EF4-FFF2-40B4-BE49-F238E27FC236}">
                <a16:creationId xmlns:a16="http://schemas.microsoft.com/office/drawing/2014/main" id="{5E16BCC0-0FC3-4D24-9B64-997FCE6D6E94}"/>
              </a:ext>
            </a:extLst>
          </p:cNvPr>
          <p:cNvSpPr txBox="1"/>
          <p:nvPr/>
        </p:nvSpPr>
        <p:spPr>
          <a:xfrm>
            <a:off x="629400" y="2955600"/>
            <a:ext cx="3123862"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Font typeface="Trebuchet MS" panose="020B0603020202020204" pitchFamily="34" charset="0"/>
              <a:buChar char="​"/>
            </a:pPr>
            <a:r>
              <a:rPr lang="en-US" sz="1600" dirty="0">
                <a:solidFill>
                  <a:schemeClr val="tx1">
                    <a:lumMod val="100000"/>
                  </a:schemeClr>
                </a:solidFill>
              </a:rPr>
              <a:t>LABcasts team provides limited support (stakeholder driven)</a:t>
            </a:r>
          </a:p>
          <a:p>
            <a:pPr lvl="1">
              <a:buClr>
                <a:schemeClr val="tx2">
                  <a:lumMod val="100000"/>
                </a:schemeClr>
              </a:buClr>
              <a:buSzPct val="100000"/>
            </a:pPr>
            <a:endParaRPr lang="en-US" sz="1600" dirty="0">
              <a:solidFill>
                <a:schemeClr val="tx1">
                  <a:lumMod val="100000"/>
                </a:schemeClr>
              </a:solidFill>
            </a:endParaRPr>
          </a:p>
          <a:p>
            <a:pPr lvl="1">
              <a:spcAft>
                <a:spcPts val="400"/>
              </a:spcAft>
              <a:buClr>
                <a:schemeClr val="tx2">
                  <a:lumMod val="100000"/>
                </a:schemeClr>
              </a:buClr>
              <a:buSzPct val="100000"/>
            </a:pPr>
            <a:r>
              <a:rPr lang="en-US" sz="1600" dirty="0">
                <a:solidFill>
                  <a:schemeClr val="tx1">
                    <a:lumMod val="100000"/>
                  </a:schemeClr>
                </a:solidFill>
              </a:rPr>
              <a:t>Resources provided for content standards and </a:t>
            </a:r>
            <a:br>
              <a:rPr lang="en-US" sz="1600" dirty="0">
                <a:solidFill>
                  <a:schemeClr val="tx1">
                    <a:lumMod val="100000"/>
                  </a:schemeClr>
                </a:solidFill>
              </a:rPr>
            </a:br>
            <a:r>
              <a:rPr lang="en-US" sz="1600" dirty="0">
                <a:solidFill>
                  <a:schemeClr val="tx1">
                    <a:lumMod val="100000"/>
                  </a:schemeClr>
                </a:solidFill>
              </a:rPr>
              <a:t>best practices shared</a:t>
            </a:r>
          </a:p>
          <a:p>
            <a:pPr lvl="1">
              <a:spcAft>
                <a:spcPts val="400"/>
              </a:spcAft>
              <a:buClr>
                <a:schemeClr val="tx2">
                  <a:lumMod val="100000"/>
                </a:schemeClr>
              </a:buClr>
              <a:buSzPct val="100000"/>
            </a:pPr>
            <a:r>
              <a:rPr lang="en-US" sz="1600" dirty="0">
                <a:solidFill>
                  <a:schemeClr val="tx1">
                    <a:lumMod val="100000"/>
                  </a:schemeClr>
                </a:solidFill>
              </a:rPr>
              <a:t>No dedicated content development support</a:t>
            </a:r>
          </a:p>
          <a:p>
            <a:pPr lvl="1">
              <a:spcAft>
                <a:spcPts val="400"/>
              </a:spcAft>
              <a:buClr>
                <a:schemeClr val="tx2">
                  <a:lumMod val="100000"/>
                </a:schemeClr>
              </a:buClr>
              <a:buSzPct val="100000"/>
            </a:pPr>
            <a:r>
              <a:rPr lang="en-US" sz="1600" dirty="0">
                <a:solidFill>
                  <a:schemeClr val="tx1">
                    <a:lumMod val="100000"/>
                  </a:schemeClr>
                </a:solidFill>
              </a:rPr>
              <a:t>No dedicated recording support</a:t>
            </a:r>
          </a:p>
          <a:p>
            <a:pPr lvl="1">
              <a:spcAft>
                <a:spcPts val="400"/>
              </a:spcAft>
              <a:buClr>
                <a:schemeClr val="tx2">
                  <a:lumMod val="100000"/>
                </a:schemeClr>
              </a:buClr>
              <a:buSzPct val="100000"/>
            </a:pPr>
            <a:r>
              <a:rPr lang="en-US" sz="1600" dirty="0">
                <a:solidFill>
                  <a:schemeClr val="tx1">
                    <a:lumMod val="100000"/>
                  </a:schemeClr>
                </a:solidFill>
              </a:rPr>
              <a:t>Series metrics provided</a:t>
            </a:r>
          </a:p>
        </p:txBody>
      </p:sp>
      <p:sp>
        <p:nvSpPr>
          <p:cNvPr id="28" name="ee4pContent2">
            <a:extLst>
              <a:ext uri="{FF2B5EF4-FFF2-40B4-BE49-F238E27FC236}">
                <a16:creationId xmlns:a16="http://schemas.microsoft.com/office/drawing/2014/main" id="{C00C7304-B1AC-4DBD-8E22-5886640317C4}"/>
              </a:ext>
            </a:extLst>
          </p:cNvPr>
          <p:cNvSpPr txBox="1"/>
          <p:nvPr/>
        </p:nvSpPr>
        <p:spPr>
          <a:xfrm>
            <a:off x="4533030" y="2955600"/>
            <a:ext cx="312594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Font typeface="Trebuchet MS" panose="020B0603020202020204" pitchFamily="34" charset="0"/>
              <a:buChar char="​"/>
            </a:pPr>
            <a:r>
              <a:rPr lang="en-US" sz="1600" dirty="0">
                <a:solidFill>
                  <a:schemeClr val="tx1">
                    <a:lumMod val="100000"/>
                  </a:schemeClr>
                </a:solidFill>
              </a:rPr>
              <a:t>LABcasts team provides support for recording</a:t>
            </a:r>
          </a:p>
          <a:p>
            <a:pPr>
              <a:buSzPct val="100000"/>
              <a:buFont typeface="Trebuchet MS" panose="020B0603020202020204" pitchFamily="34" charset="0"/>
              <a:buChar char="​"/>
            </a:pPr>
            <a:endParaRPr lang="en-US" sz="1600" dirty="0">
              <a:solidFill>
                <a:schemeClr val="tx1">
                  <a:lumMod val="100000"/>
                </a:schemeClr>
              </a:solidFill>
            </a:endParaRPr>
          </a:p>
          <a:p>
            <a:pPr lvl="1">
              <a:spcAft>
                <a:spcPts val="400"/>
              </a:spcAft>
              <a:buClr>
                <a:schemeClr val="tx2">
                  <a:lumMod val="100000"/>
                </a:schemeClr>
              </a:buClr>
              <a:buSzPct val="100000"/>
            </a:pPr>
            <a:r>
              <a:rPr lang="en-US" sz="1600" dirty="0">
                <a:solidFill>
                  <a:schemeClr val="tx1">
                    <a:lumMod val="100000"/>
                  </a:schemeClr>
                </a:solidFill>
              </a:rPr>
              <a:t>Regular check-ins to support series and content structure</a:t>
            </a:r>
          </a:p>
          <a:p>
            <a:pPr lvl="1">
              <a:spcAft>
                <a:spcPts val="400"/>
              </a:spcAft>
              <a:buClr>
                <a:schemeClr val="tx2">
                  <a:lumMod val="100000"/>
                </a:schemeClr>
              </a:buClr>
              <a:buSzPct val="100000"/>
            </a:pPr>
            <a:r>
              <a:rPr lang="en-US" sz="1600" dirty="0">
                <a:solidFill>
                  <a:schemeClr val="tx1">
                    <a:lumMod val="100000"/>
                  </a:schemeClr>
                </a:solidFill>
              </a:rPr>
              <a:t>Recording scheduling and support provided</a:t>
            </a:r>
          </a:p>
          <a:p>
            <a:pPr lvl="1">
              <a:spcAft>
                <a:spcPts val="400"/>
              </a:spcAft>
              <a:buClr>
                <a:schemeClr val="tx2">
                  <a:lumMod val="100000"/>
                </a:schemeClr>
              </a:buClr>
              <a:buSzPct val="100000"/>
            </a:pPr>
            <a:r>
              <a:rPr lang="en-US" sz="1600" dirty="0">
                <a:solidFill>
                  <a:schemeClr val="tx1">
                    <a:lumMod val="100000"/>
                  </a:schemeClr>
                </a:solidFill>
              </a:rPr>
              <a:t>No dedicated content development support</a:t>
            </a:r>
          </a:p>
          <a:p>
            <a:pPr lvl="1">
              <a:spcAft>
                <a:spcPts val="400"/>
              </a:spcAft>
              <a:buClr>
                <a:schemeClr val="tx2">
                  <a:lumMod val="100000"/>
                </a:schemeClr>
              </a:buClr>
              <a:buSzPct val="100000"/>
            </a:pPr>
            <a:r>
              <a:rPr lang="en-US" sz="1600" dirty="0">
                <a:solidFill>
                  <a:schemeClr val="tx1">
                    <a:lumMod val="100000"/>
                  </a:schemeClr>
                </a:solidFill>
              </a:rPr>
              <a:t>Series metrics provided</a:t>
            </a:r>
          </a:p>
        </p:txBody>
      </p:sp>
      <p:sp>
        <p:nvSpPr>
          <p:cNvPr id="29" name="ee4pContent3">
            <a:extLst>
              <a:ext uri="{FF2B5EF4-FFF2-40B4-BE49-F238E27FC236}">
                <a16:creationId xmlns:a16="http://schemas.microsoft.com/office/drawing/2014/main" id="{F6D218CD-1F72-4DD1-A8C0-0A31C8DDDE0C}"/>
              </a:ext>
            </a:extLst>
          </p:cNvPr>
          <p:cNvSpPr txBox="1"/>
          <p:nvPr/>
        </p:nvSpPr>
        <p:spPr>
          <a:xfrm>
            <a:off x="8437258" y="2955600"/>
            <a:ext cx="312594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Font typeface="Trebuchet MS" panose="020B0603020202020204" pitchFamily="34" charset="0"/>
              <a:buChar char="​"/>
            </a:pPr>
            <a:r>
              <a:rPr lang="en-US" sz="1600" dirty="0">
                <a:solidFill>
                  <a:schemeClr val="tx1">
                    <a:lumMod val="100000"/>
                  </a:schemeClr>
                </a:solidFill>
              </a:rPr>
              <a:t>LABcasts team provides content and recording support</a:t>
            </a:r>
          </a:p>
          <a:p>
            <a:pPr lvl="1">
              <a:buClr>
                <a:schemeClr val="tx2">
                  <a:lumMod val="100000"/>
                </a:schemeClr>
              </a:buClr>
              <a:buSzPct val="100000"/>
            </a:pPr>
            <a:endParaRPr lang="en-US" sz="1600" dirty="0">
              <a:solidFill>
                <a:schemeClr val="tx1">
                  <a:lumMod val="100000"/>
                </a:schemeClr>
              </a:solidFill>
            </a:endParaRPr>
          </a:p>
          <a:p>
            <a:pPr lvl="1">
              <a:spcAft>
                <a:spcPts val="400"/>
              </a:spcAft>
              <a:buClr>
                <a:schemeClr val="tx2">
                  <a:lumMod val="100000"/>
                </a:schemeClr>
              </a:buClr>
              <a:buSzPct val="100000"/>
            </a:pPr>
            <a:r>
              <a:rPr lang="en-US" sz="1600" dirty="0">
                <a:solidFill>
                  <a:schemeClr val="tx1">
                    <a:lumMod val="100000"/>
                  </a:schemeClr>
                </a:solidFill>
              </a:rPr>
              <a:t>Content development support through season 1</a:t>
            </a:r>
          </a:p>
          <a:p>
            <a:pPr lvl="1">
              <a:spcAft>
                <a:spcPts val="400"/>
              </a:spcAft>
              <a:buClr>
                <a:schemeClr val="tx2">
                  <a:lumMod val="100000"/>
                </a:schemeClr>
              </a:buClr>
              <a:buSzPct val="100000"/>
            </a:pPr>
            <a:r>
              <a:rPr lang="en-US" sz="1600" dirty="0">
                <a:solidFill>
                  <a:schemeClr val="tx1">
                    <a:lumMod val="100000"/>
                  </a:schemeClr>
                </a:solidFill>
              </a:rPr>
              <a:t>Recording scheduling and support provided</a:t>
            </a:r>
          </a:p>
          <a:p>
            <a:pPr lvl="1">
              <a:spcAft>
                <a:spcPts val="400"/>
              </a:spcAft>
              <a:buClr>
                <a:schemeClr val="tx2">
                  <a:lumMod val="100000"/>
                </a:schemeClr>
              </a:buClr>
              <a:buSzPct val="100000"/>
            </a:pPr>
            <a:r>
              <a:rPr lang="en-US" sz="1600" dirty="0">
                <a:solidFill>
                  <a:schemeClr val="tx1">
                    <a:lumMod val="100000"/>
                  </a:schemeClr>
                </a:solidFill>
              </a:rPr>
              <a:t>Series metrics provided</a:t>
            </a:r>
          </a:p>
        </p:txBody>
      </p:sp>
      <p:sp>
        <p:nvSpPr>
          <p:cNvPr id="30" name="ee4pHeader1">
            <a:extLst>
              <a:ext uri="{FF2B5EF4-FFF2-40B4-BE49-F238E27FC236}">
                <a16:creationId xmlns:a16="http://schemas.microsoft.com/office/drawing/2014/main" id="{F2858BFB-F780-4A55-B6C3-EA3B833E9835}"/>
              </a:ext>
            </a:extLst>
          </p:cNvPr>
          <p:cNvSpPr txBox="1"/>
          <p:nvPr/>
        </p:nvSpPr>
        <p:spPr>
          <a:xfrm>
            <a:off x="629400" y="2077200"/>
            <a:ext cx="3123862" cy="759600"/>
          </a:xfrm>
          <a:prstGeom prst="rect">
            <a:avLst/>
          </a:prstGeom>
          <a:noFill/>
          <a:ln cap="rnd">
            <a:noFill/>
          </a:ln>
        </p:spPr>
        <p:txBody>
          <a:bodyPr wrap="square" lIns="0" tIns="0" rIns="0" bIns="0" rtlCol="0" anchor="b" anchorCtr="0">
            <a:noAutofit/>
          </a:bodyPr>
          <a:lstStyle/>
          <a:p>
            <a:pPr marL="0" lvl="3"/>
            <a:r>
              <a:rPr lang="en-US" sz="2000" dirty="0">
                <a:solidFill>
                  <a:schemeClr val="tx2"/>
                </a:solidFill>
              </a:rPr>
              <a:t>DIY</a:t>
            </a:r>
          </a:p>
        </p:txBody>
      </p:sp>
      <p:sp>
        <p:nvSpPr>
          <p:cNvPr id="31" name="ee4pHeader2">
            <a:extLst>
              <a:ext uri="{FF2B5EF4-FFF2-40B4-BE49-F238E27FC236}">
                <a16:creationId xmlns:a16="http://schemas.microsoft.com/office/drawing/2014/main" id="{82463C89-82AC-40A7-9C47-7FD26C6569DF}"/>
              </a:ext>
            </a:extLst>
          </p:cNvPr>
          <p:cNvSpPr txBox="1"/>
          <p:nvPr/>
        </p:nvSpPr>
        <p:spPr>
          <a:xfrm>
            <a:off x="4533030" y="2077200"/>
            <a:ext cx="3125941" cy="759600"/>
          </a:xfrm>
          <a:prstGeom prst="rect">
            <a:avLst/>
          </a:prstGeom>
          <a:noFill/>
          <a:ln cap="rnd">
            <a:noFill/>
          </a:ln>
        </p:spPr>
        <p:txBody>
          <a:bodyPr wrap="square" lIns="0" tIns="0" rIns="0" bIns="0" rtlCol="0" anchor="b" anchorCtr="0">
            <a:noAutofit/>
          </a:bodyPr>
          <a:lstStyle/>
          <a:p>
            <a:pPr marL="0" lvl="3"/>
            <a:r>
              <a:rPr lang="en-US" sz="2000" dirty="0">
                <a:solidFill>
                  <a:schemeClr val="tx2"/>
                </a:solidFill>
              </a:rPr>
              <a:t>Basic</a:t>
            </a:r>
          </a:p>
        </p:txBody>
      </p:sp>
      <p:sp>
        <p:nvSpPr>
          <p:cNvPr id="32" name="ee4pHeader3">
            <a:extLst>
              <a:ext uri="{FF2B5EF4-FFF2-40B4-BE49-F238E27FC236}">
                <a16:creationId xmlns:a16="http://schemas.microsoft.com/office/drawing/2014/main" id="{91B0E464-747C-4628-8388-CA2B72DDDFE9}"/>
              </a:ext>
            </a:extLst>
          </p:cNvPr>
          <p:cNvSpPr txBox="1"/>
          <p:nvPr/>
        </p:nvSpPr>
        <p:spPr>
          <a:xfrm>
            <a:off x="8437258" y="2077200"/>
            <a:ext cx="3125941" cy="759600"/>
          </a:xfrm>
          <a:prstGeom prst="rect">
            <a:avLst/>
          </a:prstGeom>
          <a:noFill/>
          <a:ln cap="rnd">
            <a:noFill/>
          </a:ln>
        </p:spPr>
        <p:txBody>
          <a:bodyPr wrap="square" lIns="0" tIns="0" rIns="0" bIns="0" rtlCol="0" anchor="b" anchorCtr="0">
            <a:noAutofit/>
          </a:bodyPr>
          <a:lstStyle/>
          <a:p>
            <a:pPr marL="0" lvl="3"/>
            <a:r>
              <a:rPr lang="en-US" sz="2000" dirty="0">
                <a:solidFill>
                  <a:schemeClr val="tx2"/>
                </a:solidFill>
              </a:rPr>
              <a:t>Advanced</a:t>
            </a:r>
          </a:p>
        </p:txBody>
      </p:sp>
      <p:sp>
        <p:nvSpPr>
          <p:cNvPr id="11" name="Textfeld 1">
            <a:extLst>
              <a:ext uri="{FF2B5EF4-FFF2-40B4-BE49-F238E27FC236}">
                <a16:creationId xmlns:a16="http://schemas.microsoft.com/office/drawing/2014/main" id="{721BA11E-A935-4AA7-AD8A-3441AE18AFE2}"/>
              </a:ext>
            </a:extLst>
          </p:cNvPr>
          <p:cNvSpPr txBox="1"/>
          <p:nvPr>
            <p:custDataLst>
              <p:tags r:id="rId4"/>
            </p:custDataLst>
          </p:nvPr>
        </p:nvSpPr>
        <p:spPr>
          <a:xfrm>
            <a:off x="25200" y="1015200"/>
            <a:ext cx="2743200" cy="649409"/>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28.Sep.20:
Self-service, joint collaboration and centralized</a:t>
            </a:r>
          </a:p>
        </p:txBody>
      </p:sp>
    </p:spTree>
    <p:extLst>
      <p:ext uri="{BB962C8B-B14F-4D97-AF65-F5344CB8AC3E}">
        <p14:creationId xmlns:p14="http://schemas.microsoft.com/office/powerpoint/2010/main" val="3918364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6" imgW="362" imgH="362" progId="TCLayout.ActiveDocument.1">
                  <p:embed/>
                </p:oleObj>
              </mc:Choice>
              <mc:Fallback>
                <p:oleObj name="think-cell Slide" r:id="rId6" imgW="362" imgH="362"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For more information and support</a:t>
            </a:r>
          </a:p>
        </p:txBody>
      </p:sp>
      <p:pic>
        <p:nvPicPr>
          <p:cNvPr id="9" name="Picture 8">
            <a:extLst>
              <a:ext uri="{FF2B5EF4-FFF2-40B4-BE49-F238E27FC236}">
                <a16:creationId xmlns:a16="http://schemas.microsoft.com/office/drawing/2014/main" id="{52CAA7B1-3931-D540-AA48-C9DB5B9E1089}"/>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5337766" y="1456885"/>
            <a:ext cx="1572436" cy="763679"/>
          </a:xfrm>
          <a:prstGeom prst="rect">
            <a:avLst/>
          </a:prstGeom>
        </p:spPr>
      </p:pic>
      <p:pic>
        <p:nvPicPr>
          <p:cNvPr id="10" name="Picture 7" descr="Image result for slack icon"/>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332238" y="1380040"/>
            <a:ext cx="729846" cy="729846"/>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4444654" y="2413778"/>
            <a:ext cx="3358660" cy="646331"/>
          </a:xfrm>
          <a:prstGeom prst="rect">
            <a:avLst/>
          </a:prstGeom>
        </p:spPr>
        <p:txBody>
          <a:bodyPr wrap="square">
            <a:spAutoFit/>
          </a:bodyPr>
          <a:lstStyle/>
          <a:p>
            <a:pPr algn="ctr"/>
            <a:r>
              <a:rPr lang="en-US" dirty="0">
                <a:solidFill>
                  <a:srgbClr val="575757"/>
                </a:solidFill>
              </a:rPr>
              <a:t>Learning Team microsite</a:t>
            </a:r>
          </a:p>
          <a:p>
            <a:pPr algn="ctr"/>
            <a:r>
              <a:rPr lang="en-US" dirty="0">
                <a:solidFill>
                  <a:srgbClr val="29BA74"/>
                </a:solidFill>
              </a:rPr>
              <a:t>learningteam.bcg.com</a:t>
            </a:r>
          </a:p>
        </p:txBody>
      </p:sp>
      <p:sp>
        <p:nvSpPr>
          <p:cNvPr id="12" name="Rectangle 11"/>
          <p:cNvSpPr/>
          <p:nvPr/>
        </p:nvSpPr>
        <p:spPr>
          <a:xfrm>
            <a:off x="8017832" y="2412523"/>
            <a:ext cx="3358660" cy="646331"/>
          </a:xfrm>
          <a:prstGeom prst="rect">
            <a:avLst/>
          </a:prstGeom>
        </p:spPr>
        <p:txBody>
          <a:bodyPr wrap="square">
            <a:spAutoFit/>
          </a:bodyPr>
          <a:lstStyle/>
          <a:p>
            <a:pPr algn="ctr"/>
            <a:r>
              <a:rPr lang="en-US" dirty="0">
                <a:solidFill>
                  <a:srgbClr val="575757"/>
                </a:solidFill>
              </a:rPr>
              <a:t>Slack us!</a:t>
            </a:r>
          </a:p>
          <a:p>
            <a:pPr algn="ctr"/>
            <a:r>
              <a:rPr lang="en-US" dirty="0">
                <a:solidFill>
                  <a:srgbClr val="29BA74"/>
                </a:solidFill>
              </a:rPr>
              <a:t>#</a:t>
            </a:r>
            <a:r>
              <a:rPr lang="en-US" dirty="0" err="1">
                <a:solidFill>
                  <a:srgbClr val="29BA74"/>
                </a:solidFill>
              </a:rPr>
              <a:t>learning_at_bcg</a:t>
            </a:r>
            <a:r>
              <a:rPr lang="en-US" dirty="0">
                <a:solidFill>
                  <a:srgbClr val="29BA74"/>
                </a:solidFill>
              </a:rPr>
              <a:t> </a:t>
            </a:r>
          </a:p>
        </p:txBody>
      </p:sp>
      <p:sp>
        <p:nvSpPr>
          <p:cNvPr id="15" name="Rectangle 14"/>
          <p:cNvSpPr/>
          <p:nvPr/>
        </p:nvSpPr>
        <p:spPr>
          <a:xfrm>
            <a:off x="4444654" y="5073757"/>
            <a:ext cx="3358660" cy="646331"/>
          </a:xfrm>
          <a:prstGeom prst="rect">
            <a:avLst/>
          </a:prstGeom>
        </p:spPr>
        <p:txBody>
          <a:bodyPr wrap="square">
            <a:spAutoFit/>
          </a:bodyPr>
          <a:lstStyle/>
          <a:p>
            <a:pPr algn="ctr"/>
            <a:r>
              <a:rPr lang="en-US" dirty="0">
                <a:solidFill>
                  <a:srgbClr val="575757"/>
                </a:solidFill>
              </a:rPr>
              <a:t>Visit the LAB support page</a:t>
            </a:r>
          </a:p>
          <a:p>
            <a:pPr algn="ctr"/>
            <a:r>
              <a:rPr lang="en-US" dirty="0">
                <a:solidFill>
                  <a:srgbClr val="29BA74"/>
                </a:solidFill>
              </a:rPr>
              <a:t>lab.bcg.com</a:t>
            </a:r>
          </a:p>
        </p:txBody>
      </p:sp>
      <p:sp>
        <p:nvSpPr>
          <p:cNvPr id="16" name="Rectangle 15"/>
          <p:cNvSpPr/>
          <p:nvPr/>
        </p:nvSpPr>
        <p:spPr>
          <a:xfrm>
            <a:off x="8017832" y="5072502"/>
            <a:ext cx="3358660" cy="646331"/>
          </a:xfrm>
          <a:prstGeom prst="rect">
            <a:avLst/>
          </a:prstGeom>
        </p:spPr>
        <p:txBody>
          <a:bodyPr wrap="square">
            <a:spAutoFit/>
          </a:bodyPr>
          <a:lstStyle/>
          <a:p>
            <a:pPr algn="ctr"/>
            <a:r>
              <a:rPr lang="en-US" dirty="0">
                <a:solidFill>
                  <a:srgbClr val="575757"/>
                </a:solidFill>
              </a:rPr>
              <a:t>Email us</a:t>
            </a:r>
          </a:p>
          <a:p>
            <a:pPr algn="ctr">
              <a:buSzPct val="100000"/>
            </a:pPr>
            <a:r>
              <a:rPr lang="en-US" dirty="0">
                <a:solidFill>
                  <a:srgbClr val="29BA74"/>
                </a:solidFill>
              </a:rPr>
              <a:t>learning@bcg.com</a:t>
            </a:r>
          </a:p>
        </p:txBody>
      </p:sp>
      <p:pic>
        <p:nvPicPr>
          <p:cNvPr id="17" name="Picture 2" descr="null"/>
          <p:cNvPicPr>
            <a:picLocks noChangeAspect="1" noChangeArrowheads="1"/>
          </p:cNvPicPr>
          <p:nvPr/>
        </p:nvPicPr>
        <p:blipFill rotWithShape="1">
          <a:blip r:embed="rId10">
            <a:extLst>
              <a:ext uri="{28A0092B-C50C-407E-A947-70E740481C1C}">
                <a14:useLocalDpi xmlns:a14="http://schemas.microsoft.com/office/drawing/2010/main" val="0"/>
              </a:ext>
            </a:extLst>
          </a:blip>
          <a:srcRect t="23921" b="25156"/>
          <a:stretch/>
        </p:blipFill>
        <p:spPr bwMode="auto">
          <a:xfrm>
            <a:off x="5400522" y="3950510"/>
            <a:ext cx="1446923" cy="736820"/>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p:cNvGrpSpPr/>
          <p:nvPr/>
        </p:nvGrpSpPr>
        <p:grpSpPr>
          <a:xfrm>
            <a:off x="9139329" y="3760674"/>
            <a:ext cx="1115665" cy="1116492"/>
            <a:chOff x="630433" y="2870754"/>
            <a:chExt cx="1115665" cy="1116492"/>
          </a:xfrm>
        </p:grpSpPr>
        <p:sp>
          <p:nvSpPr>
            <p:cNvPr id="19" name="AutoShape 8">
              <a:extLst>
                <a:ext uri="{FF2B5EF4-FFF2-40B4-BE49-F238E27FC236}">
                  <a16:creationId xmlns:a16="http://schemas.microsoft.com/office/drawing/2014/main" id="{2D491E12-DDCD-44FE-8E03-7DBD3D5F6480}"/>
                </a:ext>
              </a:extLst>
            </p:cNvPr>
            <p:cNvSpPr>
              <a:spLocks noChangeAspect="1" noChangeArrowheads="1" noTextEdit="1"/>
            </p:cNvSpPr>
            <p:nvPr/>
          </p:nvSpPr>
          <p:spPr bwMode="auto">
            <a:xfrm>
              <a:off x="630433" y="2870754"/>
              <a:ext cx="1115665" cy="1116492"/>
            </a:xfrm>
            <a:prstGeom prst="ellipse">
              <a:avLst/>
            </a:prstGeom>
            <a:noFill/>
            <a:ln w="19050">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20" name="Group 19"/>
            <p:cNvGrpSpPr>
              <a:grpSpLocks noChangeAspect="1"/>
            </p:cNvGrpSpPr>
            <p:nvPr/>
          </p:nvGrpSpPr>
          <p:grpSpPr>
            <a:xfrm>
              <a:off x="739618" y="2980786"/>
              <a:ext cx="897295" cy="896429"/>
              <a:chOff x="5273675" y="2606675"/>
              <a:chExt cx="1646238" cy="1644650"/>
            </a:xfrm>
          </p:grpSpPr>
          <p:sp>
            <p:nvSpPr>
              <p:cNvPr id="21"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2" name="Group 21"/>
              <p:cNvGrpSpPr/>
              <p:nvPr/>
            </p:nvGrpSpPr>
            <p:grpSpPr>
              <a:xfrm>
                <a:off x="5443538" y="2960688"/>
                <a:ext cx="1304925" cy="936625"/>
                <a:chOff x="5443538" y="2960688"/>
                <a:chExt cx="1304925" cy="936625"/>
              </a:xfrm>
            </p:grpSpPr>
            <p:sp>
              <p:nvSpPr>
                <p:cNvPr id="23" name="Freeform 5"/>
                <p:cNvSpPr>
                  <a:spLocks/>
                </p:cNvSpPr>
                <p:nvPr/>
              </p:nvSpPr>
              <p:spPr bwMode="auto">
                <a:xfrm>
                  <a:off x="5443538" y="2960688"/>
                  <a:ext cx="1304925" cy="936625"/>
                </a:xfrm>
                <a:custGeom>
                  <a:avLst/>
                  <a:gdLst>
                    <a:gd name="T0" fmla="*/ 1806 w 1828"/>
                    <a:gd name="T1" fmla="*/ 0 h 1313"/>
                    <a:gd name="T2" fmla="*/ 1123 w 1828"/>
                    <a:gd name="T3" fmla="*/ 0 h 1313"/>
                    <a:gd name="T4" fmla="*/ 1123 w 1828"/>
                    <a:gd name="T5" fmla="*/ 1 h 1313"/>
                    <a:gd name="T6" fmla="*/ 1123 w 1828"/>
                    <a:gd name="T7" fmla="*/ 44 h 1313"/>
                    <a:gd name="T8" fmla="*/ 1784 w 1828"/>
                    <a:gd name="T9" fmla="*/ 44 h 1313"/>
                    <a:gd name="T10" fmla="*/ 1784 w 1828"/>
                    <a:gd name="T11" fmla="*/ 1269 h 1313"/>
                    <a:gd name="T12" fmla="*/ 44 w 1828"/>
                    <a:gd name="T13" fmla="*/ 1269 h 1313"/>
                    <a:gd name="T14" fmla="*/ 44 w 1828"/>
                    <a:gd name="T15" fmla="*/ 44 h 1313"/>
                    <a:gd name="T16" fmla="*/ 705 w 1828"/>
                    <a:gd name="T17" fmla="*/ 44 h 1313"/>
                    <a:gd name="T18" fmla="*/ 705 w 1828"/>
                    <a:gd name="T19" fmla="*/ 1 h 1313"/>
                    <a:gd name="T20" fmla="*/ 705 w 1828"/>
                    <a:gd name="T21" fmla="*/ 0 h 1313"/>
                    <a:gd name="T22" fmla="*/ 22 w 1828"/>
                    <a:gd name="T23" fmla="*/ 0 h 1313"/>
                    <a:gd name="T24" fmla="*/ 0 w 1828"/>
                    <a:gd name="T25" fmla="*/ 22 h 1313"/>
                    <a:gd name="T26" fmla="*/ 0 w 1828"/>
                    <a:gd name="T27" fmla="*/ 1291 h 1313"/>
                    <a:gd name="T28" fmla="*/ 22 w 1828"/>
                    <a:gd name="T29" fmla="*/ 1313 h 1313"/>
                    <a:gd name="T30" fmla="*/ 1806 w 1828"/>
                    <a:gd name="T31" fmla="*/ 1313 h 1313"/>
                    <a:gd name="T32" fmla="*/ 1828 w 1828"/>
                    <a:gd name="T33" fmla="*/ 1291 h 1313"/>
                    <a:gd name="T34" fmla="*/ 1828 w 1828"/>
                    <a:gd name="T35" fmla="*/ 22 h 1313"/>
                    <a:gd name="T36" fmla="*/ 1806 w 1828"/>
                    <a:gd name="T37" fmla="*/ 0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28" h="1313">
                      <a:moveTo>
                        <a:pt x="1806" y="0"/>
                      </a:moveTo>
                      <a:cubicBezTo>
                        <a:pt x="1123" y="0"/>
                        <a:pt x="1123" y="0"/>
                        <a:pt x="1123" y="0"/>
                      </a:cubicBezTo>
                      <a:cubicBezTo>
                        <a:pt x="1123" y="1"/>
                        <a:pt x="1123" y="1"/>
                        <a:pt x="1123" y="1"/>
                      </a:cubicBezTo>
                      <a:cubicBezTo>
                        <a:pt x="1123" y="44"/>
                        <a:pt x="1123" y="44"/>
                        <a:pt x="1123" y="44"/>
                      </a:cubicBezTo>
                      <a:cubicBezTo>
                        <a:pt x="1784" y="44"/>
                        <a:pt x="1784" y="44"/>
                        <a:pt x="1784" y="44"/>
                      </a:cubicBezTo>
                      <a:cubicBezTo>
                        <a:pt x="1784" y="1269"/>
                        <a:pt x="1784" y="1269"/>
                        <a:pt x="1784" y="1269"/>
                      </a:cubicBezTo>
                      <a:cubicBezTo>
                        <a:pt x="44" y="1269"/>
                        <a:pt x="44" y="1269"/>
                        <a:pt x="44" y="1269"/>
                      </a:cubicBezTo>
                      <a:cubicBezTo>
                        <a:pt x="44" y="44"/>
                        <a:pt x="44" y="44"/>
                        <a:pt x="44" y="44"/>
                      </a:cubicBezTo>
                      <a:cubicBezTo>
                        <a:pt x="705" y="44"/>
                        <a:pt x="705" y="44"/>
                        <a:pt x="705" y="44"/>
                      </a:cubicBezTo>
                      <a:cubicBezTo>
                        <a:pt x="705" y="1"/>
                        <a:pt x="705" y="1"/>
                        <a:pt x="705" y="1"/>
                      </a:cubicBezTo>
                      <a:cubicBezTo>
                        <a:pt x="705" y="0"/>
                        <a:pt x="705" y="0"/>
                        <a:pt x="705" y="0"/>
                      </a:cubicBezTo>
                      <a:cubicBezTo>
                        <a:pt x="22" y="0"/>
                        <a:pt x="22" y="0"/>
                        <a:pt x="22" y="0"/>
                      </a:cubicBezTo>
                      <a:cubicBezTo>
                        <a:pt x="10" y="0"/>
                        <a:pt x="0" y="10"/>
                        <a:pt x="0" y="22"/>
                      </a:cubicBezTo>
                      <a:cubicBezTo>
                        <a:pt x="0" y="1291"/>
                        <a:pt x="0" y="1291"/>
                        <a:pt x="0" y="1291"/>
                      </a:cubicBezTo>
                      <a:cubicBezTo>
                        <a:pt x="0" y="1303"/>
                        <a:pt x="10" y="1313"/>
                        <a:pt x="22" y="1313"/>
                      </a:cubicBezTo>
                      <a:cubicBezTo>
                        <a:pt x="1806" y="1313"/>
                        <a:pt x="1806" y="1313"/>
                        <a:pt x="1806" y="1313"/>
                      </a:cubicBezTo>
                      <a:cubicBezTo>
                        <a:pt x="1818" y="1313"/>
                        <a:pt x="1828" y="1303"/>
                        <a:pt x="1828" y="1291"/>
                      </a:cubicBezTo>
                      <a:cubicBezTo>
                        <a:pt x="1828" y="22"/>
                        <a:pt x="1828" y="22"/>
                        <a:pt x="1828" y="22"/>
                      </a:cubicBezTo>
                      <a:cubicBezTo>
                        <a:pt x="1828" y="10"/>
                        <a:pt x="1818" y="0"/>
                        <a:pt x="180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Freeform 23"/>
                <p:cNvSpPr>
                  <a:spLocks/>
                </p:cNvSpPr>
                <p:nvPr/>
              </p:nvSpPr>
              <p:spPr bwMode="auto">
                <a:xfrm>
                  <a:off x="5538788" y="2962274"/>
                  <a:ext cx="1108419" cy="846138"/>
                </a:xfrm>
                <a:custGeom>
                  <a:avLst/>
                  <a:gdLst>
                    <a:gd name="connsiteX0" fmla="*/ 15729 w 1108419"/>
                    <a:gd name="connsiteY0" fmla="*/ 814388 h 846138"/>
                    <a:gd name="connsiteX1" fmla="*/ 172310 w 1108419"/>
                    <a:gd name="connsiteY1" fmla="*/ 814388 h 846138"/>
                    <a:gd name="connsiteX2" fmla="*/ 187325 w 1108419"/>
                    <a:gd name="connsiteY2" fmla="*/ 830632 h 846138"/>
                    <a:gd name="connsiteX3" fmla="*/ 172310 w 1108419"/>
                    <a:gd name="connsiteY3" fmla="*/ 846138 h 846138"/>
                    <a:gd name="connsiteX4" fmla="*/ 15729 w 1108419"/>
                    <a:gd name="connsiteY4" fmla="*/ 846138 h 846138"/>
                    <a:gd name="connsiteX5" fmla="*/ 0 w 1108419"/>
                    <a:gd name="connsiteY5" fmla="*/ 830632 h 846138"/>
                    <a:gd name="connsiteX6" fmla="*/ 15729 w 1108419"/>
                    <a:gd name="connsiteY6" fmla="*/ 814388 h 846138"/>
                    <a:gd name="connsiteX7" fmla="*/ 15772 w 1108419"/>
                    <a:gd name="connsiteY7" fmla="*/ 755650 h 846138"/>
                    <a:gd name="connsiteX8" fmla="*/ 296095 w 1108419"/>
                    <a:gd name="connsiteY8" fmla="*/ 755650 h 846138"/>
                    <a:gd name="connsiteX9" fmla="*/ 311150 w 1108419"/>
                    <a:gd name="connsiteY9" fmla="*/ 771082 h 846138"/>
                    <a:gd name="connsiteX10" fmla="*/ 296095 w 1108419"/>
                    <a:gd name="connsiteY10" fmla="*/ 785813 h 846138"/>
                    <a:gd name="connsiteX11" fmla="*/ 15772 w 1108419"/>
                    <a:gd name="connsiteY11" fmla="*/ 785813 h 846138"/>
                    <a:gd name="connsiteX12" fmla="*/ 0 w 1108419"/>
                    <a:gd name="connsiteY12" fmla="*/ 771082 h 846138"/>
                    <a:gd name="connsiteX13" fmla="*/ 15772 w 1108419"/>
                    <a:gd name="connsiteY13" fmla="*/ 755650 h 846138"/>
                    <a:gd name="connsiteX14" fmla="*/ 15795 w 1108419"/>
                    <a:gd name="connsiteY14" fmla="*/ 695325 h 846138"/>
                    <a:gd name="connsiteX15" fmla="*/ 269955 w 1108419"/>
                    <a:gd name="connsiteY15" fmla="*/ 695325 h 846138"/>
                    <a:gd name="connsiteX16" fmla="*/ 285750 w 1108419"/>
                    <a:gd name="connsiteY16" fmla="*/ 710757 h 846138"/>
                    <a:gd name="connsiteX17" fmla="*/ 269955 w 1108419"/>
                    <a:gd name="connsiteY17" fmla="*/ 725488 h 846138"/>
                    <a:gd name="connsiteX18" fmla="*/ 15795 w 1108419"/>
                    <a:gd name="connsiteY18" fmla="*/ 725488 h 846138"/>
                    <a:gd name="connsiteX19" fmla="*/ 0 w 1108419"/>
                    <a:gd name="connsiteY19" fmla="*/ 710757 h 846138"/>
                    <a:gd name="connsiteX20" fmla="*/ 15795 w 1108419"/>
                    <a:gd name="connsiteY20" fmla="*/ 695325 h 846138"/>
                    <a:gd name="connsiteX21" fmla="*/ 1022350 w 1108419"/>
                    <a:gd name="connsiteY21" fmla="*/ 657225 h 846138"/>
                    <a:gd name="connsiteX22" fmla="*/ 1025189 w 1108419"/>
                    <a:gd name="connsiteY22" fmla="*/ 657941 h 846138"/>
                    <a:gd name="connsiteX23" fmla="*/ 1028029 w 1108419"/>
                    <a:gd name="connsiteY23" fmla="*/ 658656 h 846138"/>
                    <a:gd name="connsiteX24" fmla="*/ 1028738 w 1108419"/>
                    <a:gd name="connsiteY24" fmla="*/ 658656 h 846138"/>
                    <a:gd name="connsiteX25" fmla="*/ 1030868 w 1108419"/>
                    <a:gd name="connsiteY25" fmla="*/ 659372 h 846138"/>
                    <a:gd name="connsiteX26" fmla="*/ 1033707 w 1108419"/>
                    <a:gd name="connsiteY26" fmla="*/ 661519 h 846138"/>
                    <a:gd name="connsiteX27" fmla="*/ 1104693 w 1108419"/>
                    <a:gd name="connsiteY27" fmla="*/ 733077 h 846138"/>
                    <a:gd name="connsiteX28" fmla="*/ 1104693 w 1108419"/>
                    <a:gd name="connsiteY28" fmla="*/ 754544 h 846138"/>
                    <a:gd name="connsiteX29" fmla="*/ 1093336 w 1108419"/>
                    <a:gd name="connsiteY29" fmla="*/ 758837 h 846138"/>
                    <a:gd name="connsiteX30" fmla="*/ 1082688 w 1108419"/>
                    <a:gd name="connsiteY30" fmla="*/ 754544 h 846138"/>
                    <a:gd name="connsiteX31" fmla="*/ 1037967 w 1108419"/>
                    <a:gd name="connsiteY31" fmla="*/ 709462 h 846138"/>
                    <a:gd name="connsiteX32" fmla="*/ 1037967 w 1108419"/>
                    <a:gd name="connsiteY32" fmla="*/ 831111 h 846138"/>
                    <a:gd name="connsiteX33" fmla="*/ 1022350 w 1108419"/>
                    <a:gd name="connsiteY33" fmla="*/ 846138 h 846138"/>
                    <a:gd name="connsiteX34" fmla="*/ 1007443 w 1108419"/>
                    <a:gd name="connsiteY34" fmla="*/ 831111 h 846138"/>
                    <a:gd name="connsiteX35" fmla="*/ 1007443 w 1108419"/>
                    <a:gd name="connsiteY35" fmla="*/ 709462 h 846138"/>
                    <a:gd name="connsiteX36" fmla="*/ 962722 w 1108419"/>
                    <a:gd name="connsiteY36" fmla="*/ 754544 h 846138"/>
                    <a:gd name="connsiteX37" fmla="*/ 941426 w 1108419"/>
                    <a:gd name="connsiteY37" fmla="*/ 754544 h 846138"/>
                    <a:gd name="connsiteX38" fmla="*/ 941426 w 1108419"/>
                    <a:gd name="connsiteY38" fmla="*/ 733077 h 846138"/>
                    <a:gd name="connsiteX39" fmla="*/ 1012412 w 1108419"/>
                    <a:gd name="connsiteY39" fmla="*/ 661519 h 846138"/>
                    <a:gd name="connsiteX40" fmla="*/ 1014541 w 1108419"/>
                    <a:gd name="connsiteY40" fmla="*/ 659372 h 846138"/>
                    <a:gd name="connsiteX41" fmla="*/ 1016671 w 1108419"/>
                    <a:gd name="connsiteY41" fmla="*/ 658656 h 846138"/>
                    <a:gd name="connsiteX42" fmla="*/ 1019510 w 1108419"/>
                    <a:gd name="connsiteY42" fmla="*/ 657941 h 846138"/>
                    <a:gd name="connsiteX43" fmla="*/ 1022350 w 1108419"/>
                    <a:gd name="connsiteY43" fmla="*/ 657225 h 846138"/>
                    <a:gd name="connsiteX44" fmla="*/ 198437 w 1108419"/>
                    <a:gd name="connsiteY44" fmla="*/ 471488 h 846138"/>
                    <a:gd name="connsiteX45" fmla="*/ 263525 w 1108419"/>
                    <a:gd name="connsiteY45" fmla="*/ 471488 h 846138"/>
                    <a:gd name="connsiteX46" fmla="*/ 263525 w 1108419"/>
                    <a:gd name="connsiteY46" fmla="*/ 505234 h 846138"/>
                    <a:gd name="connsiteX47" fmla="*/ 247790 w 1108419"/>
                    <a:gd name="connsiteY47" fmla="*/ 520701 h 846138"/>
                    <a:gd name="connsiteX48" fmla="*/ 198437 w 1108419"/>
                    <a:gd name="connsiteY48" fmla="*/ 520701 h 846138"/>
                    <a:gd name="connsiteX49" fmla="*/ 198437 w 1108419"/>
                    <a:gd name="connsiteY49" fmla="*/ 471488 h 846138"/>
                    <a:gd name="connsiteX50" fmla="*/ 1587 w 1108419"/>
                    <a:gd name="connsiteY50" fmla="*/ 471488 h 846138"/>
                    <a:gd name="connsiteX51" fmla="*/ 166687 w 1108419"/>
                    <a:gd name="connsiteY51" fmla="*/ 471488 h 846138"/>
                    <a:gd name="connsiteX52" fmla="*/ 166687 w 1108419"/>
                    <a:gd name="connsiteY52" fmla="*/ 520701 h 846138"/>
                    <a:gd name="connsiteX53" fmla="*/ 17311 w 1108419"/>
                    <a:gd name="connsiteY53" fmla="*/ 520701 h 846138"/>
                    <a:gd name="connsiteX54" fmla="*/ 1587 w 1108419"/>
                    <a:gd name="connsiteY54" fmla="*/ 505234 h 846138"/>
                    <a:gd name="connsiteX55" fmla="*/ 1587 w 1108419"/>
                    <a:gd name="connsiteY55" fmla="*/ 471488 h 846138"/>
                    <a:gd name="connsiteX56" fmla="*/ 198437 w 1108419"/>
                    <a:gd name="connsiteY56" fmla="*/ 390525 h 846138"/>
                    <a:gd name="connsiteX57" fmla="*/ 247790 w 1108419"/>
                    <a:gd name="connsiteY57" fmla="*/ 390525 h 846138"/>
                    <a:gd name="connsiteX58" fmla="*/ 263525 w 1108419"/>
                    <a:gd name="connsiteY58" fmla="*/ 406216 h 846138"/>
                    <a:gd name="connsiteX59" fmla="*/ 263525 w 1108419"/>
                    <a:gd name="connsiteY59" fmla="*/ 439738 h 846138"/>
                    <a:gd name="connsiteX60" fmla="*/ 198437 w 1108419"/>
                    <a:gd name="connsiteY60" fmla="*/ 439738 h 846138"/>
                    <a:gd name="connsiteX61" fmla="*/ 198437 w 1108419"/>
                    <a:gd name="connsiteY61" fmla="*/ 390525 h 846138"/>
                    <a:gd name="connsiteX62" fmla="*/ 17311 w 1108419"/>
                    <a:gd name="connsiteY62" fmla="*/ 390525 h 846138"/>
                    <a:gd name="connsiteX63" fmla="*/ 166687 w 1108419"/>
                    <a:gd name="connsiteY63" fmla="*/ 390525 h 846138"/>
                    <a:gd name="connsiteX64" fmla="*/ 166687 w 1108419"/>
                    <a:gd name="connsiteY64" fmla="*/ 439738 h 846138"/>
                    <a:gd name="connsiteX65" fmla="*/ 1587 w 1108419"/>
                    <a:gd name="connsiteY65" fmla="*/ 439738 h 846138"/>
                    <a:gd name="connsiteX66" fmla="*/ 1587 w 1108419"/>
                    <a:gd name="connsiteY66" fmla="*/ 406216 h 846138"/>
                    <a:gd name="connsiteX67" fmla="*/ 17311 w 1108419"/>
                    <a:gd name="connsiteY67" fmla="*/ 390525 h 846138"/>
                    <a:gd name="connsiteX68" fmla="*/ 439737 w 1108419"/>
                    <a:gd name="connsiteY68" fmla="*/ 0 h 846138"/>
                    <a:gd name="connsiteX69" fmla="*/ 446857 w 1108419"/>
                    <a:gd name="connsiteY69" fmla="*/ 0 h 846138"/>
                    <a:gd name="connsiteX70" fmla="*/ 667568 w 1108419"/>
                    <a:gd name="connsiteY70" fmla="*/ 0 h 846138"/>
                    <a:gd name="connsiteX71" fmla="*/ 674687 w 1108419"/>
                    <a:gd name="connsiteY71" fmla="*/ 0 h 846138"/>
                    <a:gd name="connsiteX72" fmla="*/ 674687 w 1108419"/>
                    <a:gd name="connsiteY72" fmla="*/ 30490 h 846138"/>
                    <a:gd name="connsiteX73" fmla="*/ 674687 w 1108419"/>
                    <a:gd name="connsiteY73" fmla="*/ 204216 h 846138"/>
                    <a:gd name="connsiteX74" fmla="*/ 668991 w 1108419"/>
                    <a:gd name="connsiteY74" fmla="*/ 209179 h 846138"/>
                    <a:gd name="connsiteX75" fmla="*/ 666144 w 1108419"/>
                    <a:gd name="connsiteY75" fmla="*/ 208470 h 846138"/>
                    <a:gd name="connsiteX76" fmla="*/ 641225 w 1108419"/>
                    <a:gd name="connsiteY76" fmla="*/ 194998 h 846138"/>
                    <a:gd name="connsiteX77" fmla="*/ 638377 w 1108419"/>
                    <a:gd name="connsiteY77" fmla="*/ 194289 h 846138"/>
                    <a:gd name="connsiteX78" fmla="*/ 635529 w 1108419"/>
                    <a:gd name="connsiteY78" fmla="*/ 194998 h 846138"/>
                    <a:gd name="connsiteX79" fmla="*/ 603490 w 1108419"/>
                    <a:gd name="connsiteY79" fmla="*/ 212016 h 846138"/>
                    <a:gd name="connsiteX80" fmla="*/ 600642 w 1108419"/>
                    <a:gd name="connsiteY80" fmla="*/ 212725 h 846138"/>
                    <a:gd name="connsiteX81" fmla="*/ 597795 w 1108419"/>
                    <a:gd name="connsiteY81" fmla="*/ 212016 h 846138"/>
                    <a:gd name="connsiteX82" fmla="*/ 560060 w 1108419"/>
                    <a:gd name="connsiteY82" fmla="*/ 194998 h 846138"/>
                    <a:gd name="connsiteX83" fmla="*/ 557212 w 1108419"/>
                    <a:gd name="connsiteY83" fmla="*/ 194289 h 846138"/>
                    <a:gd name="connsiteX84" fmla="*/ 554364 w 1108419"/>
                    <a:gd name="connsiteY84" fmla="*/ 194998 h 846138"/>
                    <a:gd name="connsiteX85" fmla="*/ 517342 w 1108419"/>
                    <a:gd name="connsiteY85" fmla="*/ 212016 h 846138"/>
                    <a:gd name="connsiteX86" fmla="*/ 515206 w 1108419"/>
                    <a:gd name="connsiteY86" fmla="*/ 212725 h 846138"/>
                    <a:gd name="connsiteX87" fmla="*/ 511646 w 1108419"/>
                    <a:gd name="connsiteY87" fmla="*/ 212016 h 846138"/>
                    <a:gd name="connsiteX88" fmla="*/ 478896 w 1108419"/>
                    <a:gd name="connsiteY88" fmla="*/ 194998 h 846138"/>
                    <a:gd name="connsiteX89" fmla="*/ 476760 w 1108419"/>
                    <a:gd name="connsiteY89" fmla="*/ 194289 h 846138"/>
                    <a:gd name="connsiteX90" fmla="*/ 473912 w 1108419"/>
                    <a:gd name="connsiteY90" fmla="*/ 194998 h 846138"/>
                    <a:gd name="connsiteX91" fmla="*/ 448281 w 1108419"/>
                    <a:gd name="connsiteY91" fmla="*/ 208470 h 846138"/>
                    <a:gd name="connsiteX92" fmla="*/ 444721 w 1108419"/>
                    <a:gd name="connsiteY92" fmla="*/ 209179 h 846138"/>
                    <a:gd name="connsiteX93" fmla="*/ 439737 w 1108419"/>
                    <a:gd name="connsiteY93" fmla="*/ 204216 h 846138"/>
                    <a:gd name="connsiteX94" fmla="*/ 439737 w 1108419"/>
                    <a:gd name="connsiteY94" fmla="*/ 30490 h 846138"/>
                    <a:gd name="connsiteX95" fmla="*/ 439737 w 1108419"/>
                    <a:gd name="connsiteY95" fmla="*/ 0 h 84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108419" h="846138">
                      <a:moveTo>
                        <a:pt x="15729" y="814388"/>
                      </a:moveTo>
                      <a:cubicBezTo>
                        <a:pt x="15729" y="814388"/>
                        <a:pt x="15729" y="814388"/>
                        <a:pt x="172310" y="814388"/>
                      </a:cubicBezTo>
                      <a:cubicBezTo>
                        <a:pt x="180175" y="814388"/>
                        <a:pt x="187325" y="821772"/>
                        <a:pt x="187325" y="830632"/>
                      </a:cubicBezTo>
                      <a:cubicBezTo>
                        <a:pt x="187325" y="839493"/>
                        <a:pt x="180175" y="846138"/>
                        <a:pt x="172310" y="846138"/>
                      </a:cubicBezTo>
                      <a:cubicBezTo>
                        <a:pt x="172310" y="846138"/>
                        <a:pt x="172310" y="846138"/>
                        <a:pt x="15729" y="846138"/>
                      </a:cubicBezTo>
                      <a:cubicBezTo>
                        <a:pt x="7150" y="846138"/>
                        <a:pt x="0" y="839493"/>
                        <a:pt x="0" y="830632"/>
                      </a:cubicBezTo>
                      <a:cubicBezTo>
                        <a:pt x="0" y="821772"/>
                        <a:pt x="7150" y="814388"/>
                        <a:pt x="15729" y="814388"/>
                      </a:cubicBezTo>
                      <a:close/>
                      <a:moveTo>
                        <a:pt x="15772" y="755650"/>
                      </a:moveTo>
                      <a:cubicBezTo>
                        <a:pt x="15772" y="755650"/>
                        <a:pt x="15772" y="755650"/>
                        <a:pt x="296095" y="755650"/>
                      </a:cubicBezTo>
                      <a:cubicBezTo>
                        <a:pt x="303981" y="755650"/>
                        <a:pt x="311150" y="762665"/>
                        <a:pt x="311150" y="771082"/>
                      </a:cubicBezTo>
                      <a:cubicBezTo>
                        <a:pt x="311150" y="779500"/>
                        <a:pt x="303981" y="785813"/>
                        <a:pt x="296095" y="785813"/>
                      </a:cubicBezTo>
                      <a:cubicBezTo>
                        <a:pt x="296095" y="785813"/>
                        <a:pt x="296095" y="785813"/>
                        <a:pt x="15772" y="785813"/>
                      </a:cubicBezTo>
                      <a:cubicBezTo>
                        <a:pt x="7169" y="785813"/>
                        <a:pt x="0" y="779500"/>
                        <a:pt x="0" y="771082"/>
                      </a:cubicBezTo>
                      <a:cubicBezTo>
                        <a:pt x="0" y="762665"/>
                        <a:pt x="7169" y="755650"/>
                        <a:pt x="15772" y="755650"/>
                      </a:cubicBezTo>
                      <a:close/>
                      <a:moveTo>
                        <a:pt x="15795" y="695325"/>
                      </a:moveTo>
                      <a:cubicBezTo>
                        <a:pt x="15795" y="695325"/>
                        <a:pt x="15795" y="695325"/>
                        <a:pt x="269955" y="695325"/>
                      </a:cubicBezTo>
                      <a:cubicBezTo>
                        <a:pt x="278571" y="695325"/>
                        <a:pt x="285750" y="702340"/>
                        <a:pt x="285750" y="710757"/>
                      </a:cubicBezTo>
                      <a:cubicBezTo>
                        <a:pt x="285750" y="719876"/>
                        <a:pt x="278571" y="725488"/>
                        <a:pt x="269955" y="725488"/>
                      </a:cubicBezTo>
                      <a:cubicBezTo>
                        <a:pt x="269955" y="725488"/>
                        <a:pt x="269955" y="725488"/>
                        <a:pt x="15795" y="725488"/>
                      </a:cubicBezTo>
                      <a:cubicBezTo>
                        <a:pt x="7179" y="725488"/>
                        <a:pt x="0" y="719876"/>
                        <a:pt x="0" y="710757"/>
                      </a:cubicBezTo>
                      <a:cubicBezTo>
                        <a:pt x="0" y="702340"/>
                        <a:pt x="7179" y="695325"/>
                        <a:pt x="15795" y="695325"/>
                      </a:cubicBezTo>
                      <a:close/>
                      <a:moveTo>
                        <a:pt x="1022350" y="657225"/>
                      </a:moveTo>
                      <a:cubicBezTo>
                        <a:pt x="1023769" y="657225"/>
                        <a:pt x="1024479" y="657225"/>
                        <a:pt x="1025189" y="657941"/>
                      </a:cubicBezTo>
                      <a:cubicBezTo>
                        <a:pt x="1026609" y="657941"/>
                        <a:pt x="1027319" y="657941"/>
                        <a:pt x="1028029" y="658656"/>
                      </a:cubicBezTo>
                      <a:cubicBezTo>
                        <a:pt x="1028029" y="658656"/>
                        <a:pt x="1028029" y="658656"/>
                        <a:pt x="1028738" y="658656"/>
                      </a:cubicBezTo>
                      <a:cubicBezTo>
                        <a:pt x="1029448" y="658656"/>
                        <a:pt x="1030158" y="659372"/>
                        <a:pt x="1030868" y="659372"/>
                      </a:cubicBezTo>
                      <a:cubicBezTo>
                        <a:pt x="1032288" y="660087"/>
                        <a:pt x="1032998" y="660803"/>
                        <a:pt x="1033707" y="661519"/>
                      </a:cubicBezTo>
                      <a:cubicBezTo>
                        <a:pt x="1104693" y="733077"/>
                        <a:pt x="1104693" y="733077"/>
                        <a:pt x="1104693" y="733077"/>
                      </a:cubicBezTo>
                      <a:cubicBezTo>
                        <a:pt x="1109662" y="738801"/>
                        <a:pt x="1109662" y="748819"/>
                        <a:pt x="1104693" y="754544"/>
                      </a:cubicBezTo>
                      <a:cubicBezTo>
                        <a:pt x="1101854" y="757406"/>
                        <a:pt x="1097595" y="758837"/>
                        <a:pt x="1093336" y="758837"/>
                      </a:cubicBezTo>
                      <a:cubicBezTo>
                        <a:pt x="1089786" y="758837"/>
                        <a:pt x="1085527" y="757406"/>
                        <a:pt x="1082688" y="754544"/>
                      </a:cubicBezTo>
                      <a:cubicBezTo>
                        <a:pt x="1037967" y="709462"/>
                        <a:pt x="1037967" y="709462"/>
                        <a:pt x="1037967" y="709462"/>
                      </a:cubicBezTo>
                      <a:cubicBezTo>
                        <a:pt x="1037967" y="831111"/>
                        <a:pt x="1037967" y="831111"/>
                        <a:pt x="1037967" y="831111"/>
                      </a:cubicBezTo>
                      <a:cubicBezTo>
                        <a:pt x="1037967" y="839698"/>
                        <a:pt x="1030868" y="846138"/>
                        <a:pt x="1022350" y="846138"/>
                      </a:cubicBezTo>
                      <a:cubicBezTo>
                        <a:pt x="1014541" y="846138"/>
                        <a:pt x="1007443" y="839698"/>
                        <a:pt x="1007443" y="831111"/>
                      </a:cubicBezTo>
                      <a:cubicBezTo>
                        <a:pt x="1007443" y="709462"/>
                        <a:pt x="1007443" y="709462"/>
                        <a:pt x="1007443" y="709462"/>
                      </a:cubicBezTo>
                      <a:cubicBezTo>
                        <a:pt x="962722" y="754544"/>
                        <a:pt x="962722" y="754544"/>
                        <a:pt x="962722" y="754544"/>
                      </a:cubicBezTo>
                      <a:cubicBezTo>
                        <a:pt x="957043" y="760984"/>
                        <a:pt x="947105" y="760984"/>
                        <a:pt x="941426" y="754544"/>
                      </a:cubicBezTo>
                      <a:cubicBezTo>
                        <a:pt x="935037" y="748819"/>
                        <a:pt x="935037" y="738801"/>
                        <a:pt x="941426" y="733077"/>
                      </a:cubicBezTo>
                      <a:cubicBezTo>
                        <a:pt x="1012412" y="661519"/>
                        <a:pt x="1012412" y="661519"/>
                        <a:pt x="1012412" y="661519"/>
                      </a:cubicBezTo>
                      <a:cubicBezTo>
                        <a:pt x="1013122" y="660803"/>
                        <a:pt x="1013831" y="660087"/>
                        <a:pt x="1014541" y="659372"/>
                      </a:cubicBezTo>
                      <a:cubicBezTo>
                        <a:pt x="1015251" y="659372"/>
                        <a:pt x="1016671" y="658656"/>
                        <a:pt x="1016671" y="658656"/>
                      </a:cubicBezTo>
                      <a:cubicBezTo>
                        <a:pt x="1017381" y="657941"/>
                        <a:pt x="1018800" y="657941"/>
                        <a:pt x="1019510" y="657941"/>
                      </a:cubicBezTo>
                      <a:cubicBezTo>
                        <a:pt x="1020220" y="657225"/>
                        <a:pt x="1021640" y="657225"/>
                        <a:pt x="1022350" y="657225"/>
                      </a:cubicBezTo>
                      <a:close/>
                      <a:moveTo>
                        <a:pt x="198437" y="471488"/>
                      </a:moveTo>
                      <a:cubicBezTo>
                        <a:pt x="198437" y="471488"/>
                        <a:pt x="198437" y="471488"/>
                        <a:pt x="263525" y="471488"/>
                      </a:cubicBezTo>
                      <a:cubicBezTo>
                        <a:pt x="263525" y="471488"/>
                        <a:pt x="263525" y="471488"/>
                        <a:pt x="263525" y="505234"/>
                      </a:cubicBezTo>
                      <a:cubicBezTo>
                        <a:pt x="263525" y="513671"/>
                        <a:pt x="256373" y="520701"/>
                        <a:pt x="247790" y="520701"/>
                      </a:cubicBezTo>
                      <a:cubicBezTo>
                        <a:pt x="247790" y="520701"/>
                        <a:pt x="247790" y="520701"/>
                        <a:pt x="198437" y="520701"/>
                      </a:cubicBezTo>
                      <a:cubicBezTo>
                        <a:pt x="198437" y="520701"/>
                        <a:pt x="198437" y="520701"/>
                        <a:pt x="198437" y="471488"/>
                      </a:cubicBezTo>
                      <a:close/>
                      <a:moveTo>
                        <a:pt x="1587" y="471488"/>
                      </a:moveTo>
                      <a:cubicBezTo>
                        <a:pt x="1587" y="471488"/>
                        <a:pt x="1587" y="471488"/>
                        <a:pt x="166687" y="471488"/>
                      </a:cubicBezTo>
                      <a:cubicBezTo>
                        <a:pt x="166687" y="471488"/>
                        <a:pt x="166687" y="471488"/>
                        <a:pt x="166687" y="520701"/>
                      </a:cubicBezTo>
                      <a:cubicBezTo>
                        <a:pt x="166687" y="520701"/>
                        <a:pt x="166687" y="520701"/>
                        <a:pt x="17311" y="520701"/>
                      </a:cubicBezTo>
                      <a:cubicBezTo>
                        <a:pt x="8734" y="520701"/>
                        <a:pt x="1587" y="513671"/>
                        <a:pt x="1587" y="505234"/>
                      </a:cubicBezTo>
                      <a:cubicBezTo>
                        <a:pt x="1587" y="505234"/>
                        <a:pt x="1587" y="505234"/>
                        <a:pt x="1587" y="471488"/>
                      </a:cubicBezTo>
                      <a:close/>
                      <a:moveTo>
                        <a:pt x="198437" y="390525"/>
                      </a:moveTo>
                      <a:cubicBezTo>
                        <a:pt x="198437" y="390525"/>
                        <a:pt x="198437" y="390525"/>
                        <a:pt x="247790" y="390525"/>
                      </a:cubicBezTo>
                      <a:cubicBezTo>
                        <a:pt x="256373" y="390525"/>
                        <a:pt x="263525" y="397657"/>
                        <a:pt x="263525" y="406216"/>
                      </a:cubicBezTo>
                      <a:lnTo>
                        <a:pt x="263525" y="439738"/>
                      </a:lnTo>
                      <a:cubicBezTo>
                        <a:pt x="263525" y="439738"/>
                        <a:pt x="263525" y="439738"/>
                        <a:pt x="198437" y="439738"/>
                      </a:cubicBezTo>
                      <a:cubicBezTo>
                        <a:pt x="198437" y="439738"/>
                        <a:pt x="198437" y="439738"/>
                        <a:pt x="198437" y="390525"/>
                      </a:cubicBezTo>
                      <a:close/>
                      <a:moveTo>
                        <a:pt x="17311" y="390525"/>
                      </a:moveTo>
                      <a:cubicBezTo>
                        <a:pt x="17311" y="390525"/>
                        <a:pt x="17311" y="390525"/>
                        <a:pt x="166687" y="390525"/>
                      </a:cubicBezTo>
                      <a:lnTo>
                        <a:pt x="166687" y="439738"/>
                      </a:lnTo>
                      <a:cubicBezTo>
                        <a:pt x="166687" y="439738"/>
                        <a:pt x="166687" y="439738"/>
                        <a:pt x="1587" y="439738"/>
                      </a:cubicBezTo>
                      <a:cubicBezTo>
                        <a:pt x="1587" y="439738"/>
                        <a:pt x="1587" y="439738"/>
                        <a:pt x="1587" y="406216"/>
                      </a:cubicBezTo>
                      <a:cubicBezTo>
                        <a:pt x="1587" y="397657"/>
                        <a:pt x="8734" y="390525"/>
                        <a:pt x="17311" y="390525"/>
                      </a:cubicBezTo>
                      <a:close/>
                      <a:moveTo>
                        <a:pt x="439737" y="0"/>
                      </a:moveTo>
                      <a:cubicBezTo>
                        <a:pt x="439737" y="0"/>
                        <a:pt x="439737" y="0"/>
                        <a:pt x="446857" y="0"/>
                      </a:cubicBezTo>
                      <a:lnTo>
                        <a:pt x="667568" y="0"/>
                      </a:lnTo>
                      <a:cubicBezTo>
                        <a:pt x="667568" y="0"/>
                        <a:pt x="667568" y="0"/>
                        <a:pt x="674687" y="0"/>
                      </a:cubicBezTo>
                      <a:cubicBezTo>
                        <a:pt x="674687" y="0"/>
                        <a:pt x="674687" y="6382"/>
                        <a:pt x="674687" y="30490"/>
                      </a:cubicBezTo>
                      <a:cubicBezTo>
                        <a:pt x="674687" y="58145"/>
                        <a:pt x="674687" y="109908"/>
                        <a:pt x="674687" y="204216"/>
                      </a:cubicBezTo>
                      <a:cubicBezTo>
                        <a:pt x="674687" y="207761"/>
                        <a:pt x="671839" y="209179"/>
                        <a:pt x="668991" y="209179"/>
                      </a:cubicBezTo>
                      <a:cubicBezTo>
                        <a:pt x="668280" y="209179"/>
                        <a:pt x="667568" y="209179"/>
                        <a:pt x="666144" y="208470"/>
                      </a:cubicBezTo>
                      <a:cubicBezTo>
                        <a:pt x="666144" y="208470"/>
                        <a:pt x="666144" y="208470"/>
                        <a:pt x="641225" y="194998"/>
                      </a:cubicBezTo>
                      <a:cubicBezTo>
                        <a:pt x="640513" y="194289"/>
                        <a:pt x="639801" y="194289"/>
                        <a:pt x="638377" y="194289"/>
                      </a:cubicBezTo>
                      <a:cubicBezTo>
                        <a:pt x="637665" y="194289"/>
                        <a:pt x="636241" y="194289"/>
                        <a:pt x="635529" y="194998"/>
                      </a:cubicBezTo>
                      <a:cubicBezTo>
                        <a:pt x="635529" y="194998"/>
                        <a:pt x="635529" y="194998"/>
                        <a:pt x="603490" y="212016"/>
                      </a:cubicBezTo>
                      <a:cubicBezTo>
                        <a:pt x="602778" y="212016"/>
                        <a:pt x="601354" y="212725"/>
                        <a:pt x="600642" y="212725"/>
                      </a:cubicBezTo>
                      <a:cubicBezTo>
                        <a:pt x="599930" y="212725"/>
                        <a:pt x="598506" y="212016"/>
                        <a:pt x="597795" y="212016"/>
                      </a:cubicBezTo>
                      <a:cubicBezTo>
                        <a:pt x="597795" y="212016"/>
                        <a:pt x="597795" y="212016"/>
                        <a:pt x="560060" y="194998"/>
                      </a:cubicBezTo>
                      <a:cubicBezTo>
                        <a:pt x="558636" y="194289"/>
                        <a:pt x="557924" y="194289"/>
                        <a:pt x="557212" y="194289"/>
                      </a:cubicBezTo>
                      <a:cubicBezTo>
                        <a:pt x="556500" y="194289"/>
                        <a:pt x="555076" y="194289"/>
                        <a:pt x="554364" y="194998"/>
                      </a:cubicBezTo>
                      <a:cubicBezTo>
                        <a:pt x="554364" y="194998"/>
                        <a:pt x="554364" y="194998"/>
                        <a:pt x="517342" y="212016"/>
                      </a:cubicBezTo>
                      <a:cubicBezTo>
                        <a:pt x="516630" y="212016"/>
                        <a:pt x="515918" y="212725"/>
                        <a:pt x="515206" y="212725"/>
                      </a:cubicBezTo>
                      <a:cubicBezTo>
                        <a:pt x="513782" y="212725"/>
                        <a:pt x="513070" y="212016"/>
                        <a:pt x="511646" y="212016"/>
                      </a:cubicBezTo>
                      <a:cubicBezTo>
                        <a:pt x="511646" y="212016"/>
                        <a:pt x="511646" y="212016"/>
                        <a:pt x="478896" y="194998"/>
                      </a:cubicBezTo>
                      <a:cubicBezTo>
                        <a:pt x="478896" y="194289"/>
                        <a:pt x="477472" y="194289"/>
                        <a:pt x="476760" y="194289"/>
                      </a:cubicBezTo>
                      <a:cubicBezTo>
                        <a:pt x="475336" y="194289"/>
                        <a:pt x="474624" y="194289"/>
                        <a:pt x="473912" y="194998"/>
                      </a:cubicBezTo>
                      <a:cubicBezTo>
                        <a:pt x="473912" y="194998"/>
                        <a:pt x="473912" y="194998"/>
                        <a:pt x="448281" y="208470"/>
                      </a:cubicBezTo>
                      <a:cubicBezTo>
                        <a:pt x="446857" y="209179"/>
                        <a:pt x="446145" y="209179"/>
                        <a:pt x="444721" y="209179"/>
                      </a:cubicBezTo>
                      <a:cubicBezTo>
                        <a:pt x="441873" y="209179"/>
                        <a:pt x="439737" y="207761"/>
                        <a:pt x="439737" y="204216"/>
                      </a:cubicBezTo>
                      <a:cubicBezTo>
                        <a:pt x="439737" y="204216"/>
                        <a:pt x="439737" y="204216"/>
                        <a:pt x="439737" y="30490"/>
                      </a:cubicBezTo>
                      <a:cubicBezTo>
                        <a:pt x="439737" y="30490"/>
                        <a:pt x="439737" y="30490"/>
                        <a:pt x="439737"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spTree>
    <p:extLst>
      <p:ext uri="{BB962C8B-B14F-4D97-AF65-F5344CB8AC3E}">
        <p14:creationId xmlns:p14="http://schemas.microsoft.com/office/powerpoint/2010/main" val="483737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8982DE-4F6C-40B6-BC2D-A93964AA141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Slide" r:id="rId9" imgW="415" imgH="416" progId="TCLayout.ActiveDocument.1">
                  <p:embed/>
                </p:oleObj>
              </mc:Choice>
              <mc:Fallback>
                <p:oleObj name="think-cell Slide" r:id="rId9" imgW="415" imgH="416" progId="TCLayout.ActiveDocument.1">
                  <p:embed/>
                  <p:pic>
                    <p:nvPicPr>
                      <p:cNvPr id="4" name="Object 3" hidden="1">
                        <a:extLst>
                          <a:ext uri="{FF2B5EF4-FFF2-40B4-BE49-F238E27FC236}">
                            <a16:creationId xmlns:a16="http://schemas.microsoft.com/office/drawing/2014/main" id="{6C8982DE-4F6C-40B6-BC2D-A93964AA141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E4C3EB8-2482-404C-A998-D4A5B11B265D}"/>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3223DE16-2F66-4026-9F32-5265B9FA13E2}"/>
              </a:ext>
            </a:extLst>
          </p:cNvPr>
          <p:cNvSpPr>
            <a:spLocks noGrp="1"/>
          </p:cNvSpPr>
          <p:nvPr>
            <p:ph type="title"/>
          </p:nvPr>
        </p:nvSpPr>
        <p:spPr/>
        <p:txBody>
          <a:bodyPr/>
          <a:lstStyle/>
          <a:p>
            <a:r>
              <a:rPr lang="en-US" dirty="0"/>
              <a:t>Next steps</a:t>
            </a:r>
          </a:p>
        </p:txBody>
      </p:sp>
      <p:sp>
        <p:nvSpPr>
          <p:cNvPr id="6" name="TextBox 5">
            <a:extLst>
              <a:ext uri="{FF2B5EF4-FFF2-40B4-BE49-F238E27FC236}">
                <a16:creationId xmlns:a16="http://schemas.microsoft.com/office/drawing/2014/main" id="{8E1B2DA6-0F60-4B37-82CB-90AF89C6AB99}"/>
              </a:ext>
            </a:extLst>
          </p:cNvPr>
          <p:cNvSpPr txBox="1"/>
          <p:nvPr/>
        </p:nvSpPr>
        <p:spPr>
          <a:xfrm>
            <a:off x="4514850" y="2164464"/>
            <a:ext cx="5905500" cy="25290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SzPct val="100000"/>
              <a:buFont typeface="Trebuchet MS" panose="020B0603020202020204" pitchFamily="34" charset="0"/>
              <a:buChar char="​"/>
            </a:pPr>
            <a:r>
              <a:rPr lang="en-US" dirty="0">
                <a:solidFill>
                  <a:srgbClr val="29BA74"/>
                </a:solidFill>
                <a:latin typeface="Trebuchet MS" panose="020B0603020202020204" pitchFamily="34" charset="0"/>
              </a:rPr>
              <a:t>Schedule time with the LABcasts team to:</a:t>
            </a:r>
          </a:p>
          <a:p>
            <a:pPr marL="324000" lvl="1" indent="-216000">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Have a full demo of the LAB platform</a:t>
            </a:r>
          </a:p>
          <a:p>
            <a:pPr marL="324000" lvl="1" indent="-216000">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Discuss your LAB needs</a:t>
            </a:r>
          </a:p>
          <a:p>
            <a:pPr marL="324000" lvl="1" indent="-216000">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Determine what service level your project fall into</a:t>
            </a:r>
          </a:p>
          <a:p>
            <a:pPr marL="324000" lvl="1" indent="-216000">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Determine if you need to provide budget</a:t>
            </a:r>
          </a:p>
        </p:txBody>
      </p:sp>
      <p:sp>
        <p:nvSpPr>
          <p:cNvPr id="7" name="Textfeld 5">
            <a:extLst>
              <a:ext uri="{FF2B5EF4-FFF2-40B4-BE49-F238E27FC236}">
                <a16:creationId xmlns:a16="http://schemas.microsoft.com/office/drawing/2014/main" id="{5F4ACD0D-6D2E-47C4-BF06-B107069A9102}"/>
              </a:ext>
            </a:extLst>
          </p:cNvPr>
          <p:cNvSpPr txBox="1"/>
          <p:nvPr>
            <p:custDataLst>
              <p:tags r:id="rId4"/>
            </p:custDataLst>
          </p:nvPr>
        </p:nvSpPr>
        <p:spPr>
          <a:xfrm rot="600000">
            <a:off x="9374400" y="433667"/>
            <a:ext cx="2516400" cy="295466"/>
          </a:xfrm>
          <a:prstGeom prst="rect">
            <a:avLst/>
          </a:prstGeom>
          <a:pattFill>
            <a:fgClr>
              <a:srgbClr val="06C245"/>
            </a:fgClr>
            <a:bgClr>
              <a:srgbClr val="06C245"/>
            </a:bgClr>
          </a:pattFill>
          <a:ln w="9525" cap="rnd">
            <a:solidFill>
              <a:srgbClr val="575757"/>
            </a:solidFill>
            <a:prstDash val="solid"/>
          </a:ln>
        </p:spPr>
        <p:txBody>
          <a:bodyPr vert="horz" wrap="square" lIns="36576" tIns="36576" rIns="36576" bIns="36576" rtlCol="0" anchor="t">
            <a:spAutoFit/>
          </a:bodyPr>
          <a:lstStyle/>
          <a:p>
            <a:pPr algn="ctr">
              <a:lnSpc>
                <a:spcPct val="90000"/>
              </a:lnSpc>
              <a:spcAft>
                <a:spcPts val="600"/>
              </a:spcAft>
            </a:pPr>
            <a:r>
              <a:rPr lang="en-US" sz="1600" b="1" dirty="0">
                <a:solidFill>
                  <a:srgbClr val="FFFFFF"/>
                </a:solidFill>
                <a:sym typeface="Trebuchet MS" panose="020B0603020202020204" pitchFamily="34" charset="0"/>
              </a:rPr>
              <a:t>UPDATED</a:t>
            </a:r>
          </a:p>
        </p:txBody>
      </p:sp>
      <p:sp>
        <p:nvSpPr>
          <p:cNvPr id="8" name="Textfeld 1">
            <a:extLst>
              <a:ext uri="{FF2B5EF4-FFF2-40B4-BE49-F238E27FC236}">
                <a16:creationId xmlns:a16="http://schemas.microsoft.com/office/drawing/2014/main" id="{D3CF7FE1-A9EA-490C-ACC8-7A88736C7F9E}"/>
              </a:ext>
            </a:extLst>
          </p:cNvPr>
          <p:cNvSpPr txBox="1"/>
          <p:nvPr>
            <p:custDataLst>
              <p:tags r:id="rId5"/>
            </p:custDataLst>
          </p:nvPr>
        </p:nvSpPr>
        <p:spPr>
          <a:xfrm>
            <a:off x="762000" y="4935140"/>
            <a:ext cx="2743200" cy="649409"/>
          </a:xfrm>
          <a:prstGeom prst="rect">
            <a:avLst/>
          </a:prstGeom>
          <a:pattFill>
            <a:fgClr>
              <a:srgbClr val="7FFA00"/>
            </a:fgClr>
            <a:bgClr>
              <a:srgbClr val="7FFA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Shobhit 16.Sep.20:
do we want to highlight the search, browse and quick links?</a:t>
            </a:r>
          </a:p>
        </p:txBody>
      </p:sp>
      <p:sp>
        <p:nvSpPr>
          <p:cNvPr id="9" name="Textfeld 1">
            <a:extLst>
              <a:ext uri="{FF2B5EF4-FFF2-40B4-BE49-F238E27FC236}">
                <a16:creationId xmlns:a16="http://schemas.microsoft.com/office/drawing/2014/main" id="{40F02B3E-1754-4E74-8970-E645C52A8F32}"/>
              </a:ext>
            </a:extLst>
          </p:cNvPr>
          <p:cNvSpPr txBox="1"/>
          <p:nvPr>
            <p:custDataLst>
              <p:tags r:id="rId6"/>
            </p:custDataLst>
          </p:nvPr>
        </p:nvSpPr>
        <p:spPr>
          <a:xfrm>
            <a:off x="762000" y="5648578"/>
            <a:ext cx="2743200" cy="726353"/>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24.Sep.20:
Search -&gt; tags, filters</a:t>
            </a:r>
          </a:p>
          <a:p>
            <a:pPr>
              <a:lnSpc>
                <a:spcPct val="90000"/>
              </a:lnSpc>
              <a:spcAft>
                <a:spcPts val="600"/>
              </a:spcAft>
            </a:pPr>
            <a:r>
              <a:rPr lang="en-US" sz="1200" b="1" dirty="0">
                <a:solidFill>
                  <a:srgbClr val="575757"/>
                </a:solidFill>
                <a:sym typeface="Trebuchet MS" panose="020B0603020202020204" pitchFamily="34" charset="0"/>
              </a:rPr>
              <a:t>Browse -&gt; categories</a:t>
            </a:r>
          </a:p>
        </p:txBody>
      </p:sp>
      <p:sp>
        <p:nvSpPr>
          <p:cNvPr id="10" name="Textfeld 1">
            <a:extLst>
              <a:ext uri="{FF2B5EF4-FFF2-40B4-BE49-F238E27FC236}">
                <a16:creationId xmlns:a16="http://schemas.microsoft.com/office/drawing/2014/main" id="{DC6E1F68-65A2-419C-B698-319B2599BB0A}"/>
              </a:ext>
            </a:extLst>
          </p:cNvPr>
          <p:cNvSpPr txBox="1"/>
          <p:nvPr>
            <p:custDataLst>
              <p:tags r:id="rId7"/>
            </p:custDataLst>
          </p:nvPr>
        </p:nvSpPr>
        <p:spPr>
          <a:xfrm>
            <a:off x="630000" y="4451931"/>
            <a:ext cx="2743200" cy="483209"/>
          </a:xfrm>
          <a:prstGeom prst="rect">
            <a:avLst/>
          </a:prstGeom>
          <a:pattFill>
            <a:fgClr>
              <a:srgbClr val="FE48F1"/>
            </a:fgClr>
            <a:bgClr>
              <a:srgbClr val="FE48F1"/>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FFFFFF"/>
                </a:solidFill>
                <a:sym typeface="Trebuchet MS" panose="020B0603020202020204" pitchFamily="34" charset="0"/>
              </a:rPr>
              <a:t>VK</a:t>
            </a:r>
            <a:r>
              <a:rPr lang="en-US" sz="1200" b="1" dirty="0">
                <a:solidFill>
                  <a:srgbClr val="FFFFFF"/>
                </a:solidFill>
                <a:sym typeface="Trebuchet MS" panose="020B0603020202020204" pitchFamily="34" charset="0"/>
              </a:rPr>
              <a:t> 28.Sep.20:
For demo:</a:t>
            </a:r>
          </a:p>
        </p:txBody>
      </p:sp>
    </p:spTree>
    <p:extLst>
      <p:ext uri="{BB962C8B-B14F-4D97-AF65-F5344CB8AC3E}">
        <p14:creationId xmlns:p14="http://schemas.microsoft.com/office/powerpoint/2010/main" val="760033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E334CF9-250F-495C-97D7-344DC770DB04}"/>
              </a:ext>
            </a:extLst>
          </p:cNvPr>
          <p:cNvGraphicFramePr>
            <a:graphicFrameLocks noChangeAspect="1"/>
          </p:cNvGraphicFramePr>
          <p:nvPr>
            <p:custDataLst>
              <p:tags r:id="rId3"/>
            </p:custDataLst>
            <p:extLst>
              <p:ext uri="{D42A27DB-BD31-4B8C-83A1-F6EECF244321}">
                <p14:modId xmlns:p14="http://schemas.microsoft.com/office/powerpoint/2010/main" val="3199694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ppendix</a:t>
            </a:r>
          </a:p>
        </p:txBody>
      </p:sp>
    </p:spTree>
    <p:custDataLst>
      <p:tags r:id="rId2"/>
    </p:custDataLst>
    <p:extLst>
      <p:ext uri="{BB962C8B-B14F-4D97-AF65-F5344CB8AC3E}">
        <p14:creationId xmlns:p14="http://schemas.microsoft.com/office/powerpoint/2010/main" val="2090692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36"/>
          <p:cNvSpPr/>
          <p:nvPr/>
        </p:nvSpPr>
        <p:spPr>
          <a:xfrm>
            <a:off x="825350" y="-13447"/>
            <a:ext cx="3444421" cy="6871447"/>
          </a:xfrm>
          <a:custGeom>
            <a:avLst/>
            <a:gdLst>
              <a:gd name="connsiteX0" fmla="*/ 0 w 4269771"/>
              <a:gd name="connsiteY0" fmla="*/ 0 h 6871447"/>
              <a:gd name="connsiteX1" fmla="*/ 825350 w 4269771"/>
              <a:gd name="connsiteY1" fmla="*/ 0 h 6871447"/>
              <a:gd name="connsiteX2" fmla="*/ 2370592 w 4269771"/>
              <a:gd name="connsiteY2" fmla="*/ 892146 h 6871447"/>
              <a:gd name="connsiteX3" fmla="*/ 3760424 w 4269771"/>
              <a:gd name="connsiteY3" fmla="*/ 6079069 h 6871447"/>
              <a:gd name="connsiteX4" fmla="*/ 3182421 w 4269771"/>
              <a:gd name="connsiteY4" fmla="*/ 6841114 h 6871447"/>
              <a:gd name="connsiteX5" fmla="*/ 3151172 w 4269771"/>
              <a:gd name="connsiteY5" fmla="*/ 6871447 h 6871447"/>
              <a:gd name="connsiteX6" fmla="*/ 0 w 4269771"/>
              <a:gd name="connsiteY6" fmla="*/ 6871447 h 6871447"/>
              <a:gd name="connsiteX7" fmla="*/ 0 w 4269771"/>
              <a:gd name="connsiteY7" fmla="*/ 0 h 6871447"/>
              <a:gd name="connsiteX0" fmla="*/ 0 w 4269771"/>
              <a:gd name="connsiteY0" fmla="*/ 6871447 h 6871447"/>
              <a:gd name="connsiteX1" fmla="*/ 825350 w 4269771"/>
              <a:gd name="connsiteY1" fmla="*/ 0 h 6871447"/>
              <a:gd name="connsiteX2" fmla="*/ 2370592 w 4269771"/>
              <a:gd name="connsiteY2" fmla="*/ 892146 h 6871447"/>
              <a:gd name="connsiteX3" fmla="*/ 3760424 w 4269771"/>
              <a:gd name="connsiteY3" fmla="*/ 6079069 h 6871447"/>
              <a:gd name="connsiteX4" fmla="*/ 3182421 w 4269771"/>
              <a:gd name="connsiteY4" fmla="*/ 6841114 h 6871447"/>
              <a:gd name="connsiteX5" fmla="*/ 3151172 w 4269771"/>
              <a:gd name="connsiteY5" fmla="*/ 6871447 h 6871447"/>
              <a:gd name="connsiteX6" fmla="*/ 0 w 4269771"/>
              <a:gd name="connsiteY6" fmla="*/ 6871447 h 6871447"/>
              <a:gd name="connsiteX0" fmla="*/ 0 w 4269771"/>
              <a:gd name="connsiteY0" fmla="*/ 6871447 h 6962887"/>
              <a:gd name="connsiteX1" fmla="*/ 825350 w 4269771"/>
              <a:gd name="connsiteY1" fmla="*/ 0 h 6962887"/>
              <a:gd name="connsiteX2" fmla="*/ 2370592 w 4269771"/>
              <a:gd name="connsiteY2" fmla="*/ 892146 h 6962887"/>
              <a:gd name="connsiteX3" fmla="*/ 3760424 w 4269771"/>
              <a:gd name="connsiteY3" fmla="*/ 6079069 h 6962887"/>
              <a:gd name="connsiteX4" fmla="*/ 3182421 w 4269771"/>
              <a:gd name="connsiteY4" fmla="*/ 6841114 h 6962887"/>
              <a:gd name="connsiteX5" fmla="*/ 3151172 w 4269771"/>
              <a:gd name="connsiteY5" fmla="*/ 6871447 h 6962887"/>
              <a:gd name="connsiteX6" fmla="*/ 91440 w 4269771"/>
              <a:gd name="connsiteY6" fmla="*/ 6962887 h 6962887"/>
              <a:gd name="connsiteX0" fmla="*/ 0 w 4269771"/>
              <a:gd name="connsiteY0" fmla="*/ 6871447 h 6871447"/>
              <a:gd name="connsiteX1" fmla="*/ 825350 w 4269771"/>
              <a:gd name="connsiteY1" fmla="*/ 0 h 6871447"/>
              <a:gd name="connsiteX2" fmla="*/ 2370592 w 4269771"/>
              <a:gd name="connsiteY2" fmla="*/ 892146 h 6871447"/>
              <a:gd name="connsiteX3" fmla="*/ 3760424 w 4269771"/>
              <a:gd name="connsiteY3" fmla="*/ 6079069 h 6871447"/>
              <a:gd name="connsiteX4" fmla="*/ 3182421 w 4269771"/>
              <a:gd name="connsiteY4" fmla="*/ 6841114 h 6871447"/>
              <a:gd name="connsiteX5" fmla="*/ 3151172 w 4269771"/>
              <a:gd name="connsiteY5" fmla="*/ 6871447 h 6871447"/>
              <a:gd name="connsiteX0" fmla="*/ 0 w 3444421"/>
              <a:gd name="connsiteY0" fmla="*/ 0 h 6871447"/>
              <a:gd name="connsiteX1" fmla="*/ 1545242 w 3444421"/>
              <a:gd name="connsiteY1" fmla="*/ 892146 h 6871447"/>
              <a:gd name="connsiteX2" fmla="*/ 2935074 w 3444421"/>
              <a:gd name="connsiteY2" fmla="*/ 6079069 h 6871447"/>
              <a:gd name="connsiteX3" fmla="*/ 2357071 w 3444421"/>
              <a:gd name="connsiteY3" fmla="*/ 6841114 h 6871447"/>
              <a:gd name="connsiteX4" fmla="*/ 2325822 w 3444421"/>
              <a:gd name="connsiteY4" fmla="*/ 6871447 h 6871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4421" h="6871447">
                <a:moveTo>
                  <a:pt x="0" y="0"/>
                </a:moveTo>
                <a:lnTo>
                  <a:pt x="1545242" y="892146"/>
                </a:lnTo>
                <a:cubicBezTo>
                  <a:pt x="3361362" y="1940684"/>
                  <a:pt x="3983611" y="4262949"/>
                  <a:pt x="2935074" y="6079069"/>
                </a:cubicBezTo>
                <a:cubicBezTo>
                  <a:pt x="2771240" y="6362838"/>
                  <a:pt x="2576309" y="6617459"/>
                  <a:pt x="2357071" y="6841114"/>
                </a:cubicBezTo>
                <a:lnTo>
                  <a:pt x="2325822" y="6871447"/>
                </a:lnTo>
              </a:path>
            </a:pathLst>
          </a:custGeom>
          <a:ln w="9525">
            <a:solidFill>
              <a:schemeClr val="accent2"/>
            </a:solidFill>
            <a:headEnd type="none" w="sm" len="sm"/>
            <a:tailEnd type="none"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45" name="Freeform 44"/>
          <p:cNvSpPr/>
          <p:nvPr/>
        </p:nvSpPr>
        <p:spPr>
          <a:xfrm>
            <a:off x="1580950" y="-1"/>
            <a:ext cx="2148512" cy="6871448"/>
          </a:xfrm>
          <a:custGeom>
            <a:avLst/>
            <a:gdLst>
              <a:gd name="connsiteX0" fmla="*/ 0 w 3729462"/>
              <a:gd name="connsiteY0" fmla="*/ 0 h 6871448"/>
              <a:gd name="connsiteX1" fmla="*/ 1580950 w 3729462"/>
              <a:gd name="connsiteY1" fmla="*/ 0 h 6871448"/>
              <a:gd name="connsiteX2" fmla="*/ 1743964 w 3729462"/>
              <a:gd name="connsiteY2" fmla="*/ 252070 h 6871448"/>
              <a:gd name="connsiteX3" fmla="*/ 3220115 w 3729462"/>
              <a:gd name="connsiteY3" fmla="*/ 2808840 h 6871448"/>
              <a:gd name="connsiteX4" fmla="*/ 3068714 w 3729462"/>
              <a:gd name="connsiteY4" fmla="*/ 6848395 h 6871448"/>
              <a:gd name="connsiteX5" fmla="*/ 3052165 w 3729462"/>
              <a:gd name="connsiteY5" fmla="*/ 6871448 h 6871448"/>
              <a:gd name="connsiteX6" fmla="*/ 0 w 3729462"/>
              <a:gd name="connsiteY6" fmla="*/ 6871448 h 6871448"/>
              <a:gd name="connsiteX7" fmla="*/ 0 w 3729462"/>
              <a:gd name="connsiteY7" fmla="*/ 0 h 6871448"/>
              <a:gd name="connsiteX0" fmla="*/ 0 w 3729462"/>
              <a:gd name="connsiteY0" fmla="*/ 6871448 h 6871448"/>
              <a:gd name="connsiteX1" fmla="*/ 1580950 w 3729462"/>
              <a:gd name="connsiteY1" fmla="*/ 0 h 6871448"/>
              <a:gd name="connsiteX2" fmla="*/ 1743964 w 3729462"/>
              <a:gd name="connsiteY2" fmla="*/ 252070 h 6871448"/>
              <a:gd name="connsiteX3" fmla="*/ 3220115 w 3729462"/>
              <a:gd name="connsiteY3" fmla="*/ 2808840 h 6871448"/>
              <a:gd name="connsiteX4" fmla="*/ 3068714 w 3729462"/>
              <a:gd name="connsiteY4" fmla="*/ 6848395 h 6871448"/>
              <a:gd name="connsiteX5" fmla="*/ 3052165 w 3729462"/>
              <a:gd name="connsiteY5" fmla="*/ 6871448 h 6871448"/>
              <a:gd name="connsiteX6" fmla="*/ 0 w 3729462"/>
              <a:gd name="connsiteY6" fmla="*/ 6871448 h 6871448"/>
              <a:gd name="connsiteX0" fmla="*/ 0 w 3729462"/>
              <a:gd name="connsiteY0" fmla="*/ 6871448 h 6871448"/>
              <a:gd name="connsiteX1" fmla="*/ 1580950 w 3729462"/>
              <a:gd name="connsiteY1" fmla="*/ 0 h 6871448"/>
              <a:gd name="connsiteX2" fmla="*/ 1743964 w 3729462"/>
              <a:gd name="connsiteY2" fmla="*/ 252070 h 6871448"/>
              <a:gd name="connsiteX3" fmla="*/ 3220115 w 3729462"/>
              <a:gd name="connsiteY3" fmla="*/ 2808840 h 6871448"/>
              <a:gd name="connsiteX4" fmla="*/ 3068714 w 3729462"/>
              <a:gd name="connsiteY4" fmla="*/ 6848395 h 6871448"/>
              <a:gd name="connsiteX5" fmla="*/ 3052165 w 3729462"/>
              <a:gd name="connsiteY5" fmla="*/ 6871448 h 6871448"/>
              <a:gd name="connsiteX6" fmla="*/ 0 w 3729462"/>
              <a:gd name="connsiteY6" fmla="*/ 6871448 h 6871448"/>
              <a:gd name="connsiteX0" fmla="*/ 1580950 w 3729462"/>
              <a:gd name="connsiteY0" fmla="*/ 0 h 6871448"/>
              <a:gd name="connsiteX1" fmla="*/ 1743964 w 3729462"/>
              <a:gd name="connsiteY1" fmla="*/ 252070 h 6871448"/>
              <a:gd name="connsiteX2" fmla="*/ 3220115 w 3729462"/>
              <a:gd name="connsiteY2" fmla="*/ 2808840 h 6871448"/>
              <a:gd name="connsiteX3" fmla="*/ 3068714 w 3729462"/>
              <a:gd name="connsiteY3" fmla="*/ 6848395 h 6871448"/>
              <a:gd name="connsiteX4" fmla="*/ 3052165 w 3729462"/>
              <a:gd name="connsiteY4" fmla="*/ 6871448 h 6871448"/>
              <a:gd name="connsiteX5" fmla="*/ 0 w 3729462"/>
              <a:gd name="connsiteY5" fmla="*/ 6871448 h 6871448"/>
              <a:gd name="connsiteX6" fmla="*/ 1672390 w 3729462"/>
              <a:gd name="connsiteY6" fmla="*/ 91440 h 6871448"/>
              <a:gd name="connsiteX0" fmla="*/ 1580950 w 3729462"/>
              <a:gd name="connsiteY0" fmla="*/ 0 h 6871448"/>
              <a:gd name="connsiteX1" fmla="*/ 1743964 w 3729462"/>
              <a:gd name="connsiteY1" fmla="*/ 252070 h 6871448"/>
              <a:gd name="connsiteX2" fmla="*/ 3220115 w 3729462"/>
              <a:gd name="connsiteY2" fmla="*/ 2808840 h 6871448"/>
              <a:gd name="connsiteX3" fmla="*/ 3068714 w 3729462"/>
              <a:gd name="connsiteY3" fmla="*/ 6848395 h 6871448"/>
              <a:gd name="connsiteX4" fmla="*/ 3052165 w 3729462"/>
              <a:gd name="connsiteY4" fmla="*/ 6871448 h 6871448"/>
              <a:gd name="connsiteX5" fmla="*/ 0 w 3729462"/>
              <a:gd name="connsiteY5" fmla="*/ 6871448 h 6871448"/>
              <a:gd name="connsiteX6" fmla="*/ 247002 w 3729462"/>
              <a:gd name="connsiteY6" fmla="*/ 1167205 h 6871448"/>
              <a:gd name="connsiteX0" fmla="*/ 1580950 w 3729462"/>
              <a:gd name="connsiteY0" fmla="*/ 0 h 6871448"/>
              <a:gd name="connsiteX1" fmla="*/ 1743964 w 3729462"/>
              <a:gd name="connsiteY1" fmla="*/ 252070 h 6871448"/>
              <a:gd name="connsiteX2" fmla="*/ 3220115 w 3729462"/>
              <a:gd name="connsiteY2" fmla="*/ 2808840 h 6871448"/>
              <a:gd name="connsiteX3" fmla="*/ 3068714 w 3729462"/>
              <a:gd name="connsiteY3" fmla="*/ 6848395 h 6871448"/>
              <a:gd name="connsiteX4" fmla="*/ 3052165 w 3729462"/>
              <a:gd name="connsiteY4" fmla="*/ 6871448 h 6871448"/>
              <a:gd name="connsiteX5" fmla="*/ 0 w 3729462"/>
              <a:gd name="connsiteY5" fmla="*/ 6871448 h 6871448"/>
              <a:gd name="connsiteX0" fmla="*/ 0 w 2148512"/>
              <a:gd name="connsiteY0" fmla="*/ 0 h 6871448"/>
              <a:gd name="connsiteX1" fmla="*/ 163014 w 2148512"/>
              <a:gd name="connsiteY1" fmla="*/ 252070 h 6871448"/>
              <a:gd name="connsiteX2" fmla="*/ 1639165 w 2148512"/>
              <a:gd name="connsiteY2" fmla="*/ 2808840 h 6871448"/>
              <a:gd name="connsiteX3" fmla="*/ 1487764 w 2148512"/>
              <a:gd name="connsiteY3" fmla="*/ 6848395 h 6871448"/>
              <a:gd name="connsiteX4" fmla="*/ 1471215 w 2148512"/>
              <a:gd name="connsiteY4" fmla="*/ 6871448 h 6871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8512" h="6871448">
                <a:moveTo>
                  <a:pt x="0" y="0"/>
                </a:moveTo>
                <a:lnTo>
                  <a:pt x="163014" y="252070"/>
                </a:lnTo>
                <a:lnTo>
                  <a:pt x="1639165" y="2808840"/>
                </a:lnTo>
                <a:cubicBezTo>
                  <a:pt x="2392802" y="4114176"/>
                  <a:pt x="2283307" y="5680988"/>
                  <a:pt x="1487764" y="6848395"/>
                </a:cubicBezTo>
                <a:lnTo>
                  <a:pt x="1471215" y="6871448"/>
                </a:lnTo>
              </a:path>
            </a:pathLst>
          </a:cu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50" name="Freeform 49"/>
          <p:cNvSpPr/>
          <p:nvPr/>
        </p:nvSpPr>
        <p:spPr>
          <a:xfrm>
            <a:off x="1572252" y="-13448"/>
            <a:ext cx="2157209" cy="6884896"/>
          </a:xfrm>
          <a:custGeom>
            <a:avLst/>
            <a:gdLst>
              <a:gd name="connsiteX0" fmla="*/ 0 w 3742907"/>
              <a:gd name="connsiteY0" fmla="*/ 0 h 6884896"/>
              <a:gd name="connsiteX1" fmla="*/ 3065610 w 3742907"/>
              <a:gd name="connsiteY1" fmla="*/ 0 h 6884896"/>
              <a:gd name="connsiteX2" fmla="*/ 3082159 w 3742907"/>
              <a:gd name="connsiteY2" fmla="*/ 23053 h 6884896"/>
              <a:gd name="connsiteX3" fmla="*/ 3233560 w 3742907"/>
              <a:gd name="connsiteY3" fmla="*/ 4062608 h 6884896"/>
              <a:gd name="connsiteX4" fmla="*/ 1757409 w 3742907"/>
              <a:gd name="connsiteY4" fmla="*/ 6619378 h 6884896"/>
              <a:gd name="connsiteX5" fmla="*/ 1585698 w 3742907"/>
              <a:gd name="connsiteY5" fmla="*/ 6884896 h 6884896"/>
              <a:gd name="connsiteX6" fmla="*/ 0 w 3742907"/>
              <a:gd name="connsiteY6" fmla="*/ 6884896 h 6884896"/>
              <a:gd name="connsiteX7" fmla="*/ 0 w 3742907"/>
              <a:gd name="connsiteY7" fmla="*/ 0 h 6884896"/>
              <a:gd name="connsiteX0" fmla="*/ 0 w 3742907"/>
              <a:gd name="connsiteY0" fmla="*/ 6884896 h 6884896"/>
              <a:gd name="connsiteX1" fmla="*/ 3065610 w 3742907"/>
              <a:gd name="connsiteY1" fmla="*/ 0 h 6884896"/>
              <a:gd name="connsiteX2" fmla="*/ 3082159 w 3742907"/>
              <a:gd name="connsiteY2" fmla="*/ 23053 h 6884896"/>
              <a:gd name="connsiteX3" fmla="*/ 3233560 w 3742907"/>
              <a:gd name="connsiteY3" fmla="*/ 4062608 h 6884896"/>
              <a:gd name="connsiteX4" fmla="*/ 1757409 w 3742907"/>
              <a:gd name="connsiteY4" fmla="*/ 6619378 h 6884896"/>
              <a:gd name="connsiteX5" fmla="*/ 1585698 w 3742907"/>
              <a:gd name="connsiteY5" fmla="*/ 6884896 h 6884896"/>
              <a:gd name="connsiteX6" fmla="*/ 0 w 3742907"/>
              <a:gd name="connsiteY6" fmla="*/ 6884896 h 6884896"/>
              <a:gd name="connsiteX0" fmla="*/ 0 w 3742907"/>
              <a:gd name="connsiteY0" fmla="*/ 6884896 h 6976336"/>
              <a:gd name="connsiteX1" fmla="*/ 3065610 w 3742907"/>
              <a:gd name="connsiteY1" fmla="*/ 0 h 6976336"/>
              <a:gd name="connsiteX2" fmla="*/ 3082159 w 3742907"/>
              <a:gd name="connsiteY2" fmla="*/ 23053 h 6976336"/>
              <a:gd name="connsiteX3" fmla="*/ 3233560 w 3742907"/>
              <a:gd name="connsiteY3" fmla="*/ 4062608 h 6976336"/>
              <a:gd name="connsiteX4" fmla="*/ 1757409 w 3742907"/>
              <a:gd name="connsiteY4" fmla="*/ 6619378 h 6976336"/>
              <a:gd name="connsiteX5" fmla="*/ 1585698 w 3742907"/>
              <a:gd name="connsiteY5" fmla="*/ 6884896 h 6976336"/>
              <a:gd name="connsiteX6" fmla="*/ 91440 w 3742907"/>
              <a:gd name="connsiteY6" fmla="*/ 6976336 h 6976336"/>
              <a:gd name="connsiteX0" fmla="*/ 0 w 3742907"/>
              <a:gd name="connsiteY0" fmla="*/ 6884896 h 6884896"/>
              <a:gd name="connsiteX1" fmla="*/ 3065610 w 3742907"/>
              <a:gd name="connsiteY1" fmla="*/ 0 h 6884896"/>
              <a:gd name="connsiteX2" fmla="*/ 3082159 w 3742907"/>
              <a:gd name="connsiteY2" fmla="*/ 23053 h 6884896"/>
              <a:gd name="connsiteX3" fmla="*/ 3233560 w 3742907"/>
              <a:gd name="connsiteY3" fmla="*/ 4062608 h 6884896"/>
              <a:gd name="connsiteX4" fmla="*/ 1757409 w 3742907"/>
              <a:gd name="connsiteY4" fmla="*/ 6619378 h 6884896"/>
              <a:gd name="connsiteX5" fmla="*/ 1585698 w 3742907"/>
              <a:gd name="connsiteY5" fmla="*/ 6884896 h 6884896"/>
              <a:gd name="connsiteX0" fmla="*/ 1479912 w 2157209"/>
              <a:gd name="connsiteY0" fmla="*/ 0 h 6884896"/>
              <a:gd name="connsiteX1" fmla="*/ 1496461 w 2157209"/>
              <a:gd name="connsiteY1" fmla="*/ 23053 h 6884896"/>
              <a:gd name="connsiteX2" fmla="*/ 1647862 w 2157209"/>
              <a:gd name="connsiteY2" fmla="*/ 4062608 h 6884896"/>
              <a:gd name="connsiteX3" fmla="*/ 171711 w 2157209"/>
              <a:gd name="connsiteY3" fmla="*/ 6619378 h 6884896"/>
              <a:gd name="connsiteX4" fmla="*/ 0 w 2157209"/>
              <a:gd name="connsiteY4" fmla="*/ 6884896 h 6884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7209" h="6884896">
                <a:moveTo>
                  <a:pt x="1479912" y="0"/>
                </a:moveTo>
                <a:lnTo>
                  <a:pt x="1496461" y="23053"/>
                </a:lnTo>
                <a:cubicBezTo>
                  <a:pt x="2292004" y="1190460"/>
                  <a:pt x="2401499" y="2757272"/>
                  <a:pt x="1647862" y="4062608"/>
                </a:cubicBezTo>
                <a:lnTo>
                  <a:pt x="171711" y="6619378"/>
                </a:lnTo>
                <a:lnTo>
                  <a:pt x="0" y="6884896"/>
                </a:lnTo>
              </a:path>
            </a:pathLst>
          </a:custGeom>
          <a:noFill/>
          <a:ln w="9525">
            <a:solidFill>
              <a:srgbClr val="2E355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endParaRPr>
          </a:p>
        </p:txBody>
      </p:sp>
      <p:sp>
        <p:nvSpPr>
          <p:cNvPr id="51" name="Freeform 50"/>
          <p:cNvSpPr/>
          <p:nvPr/>
        </p:nvSpPr>
        <p:spPr>
          <a:xfrm>
            <a:off x="2442547" y="-13448"/>
            <a:ext cx="548203" cy="6871448"/>
          </a:xfrm>
          <a:custGeom>
            <a:avLst/>
            <a:gdLst>
              <a:gd name="connsiteX0" fmla="*/ 0 w 2990749"/>
              <a:gd name="connsiteY0" fmla="*/ 0 h 6871448"/>
              <a:gd name="connsiteX1" fmla="*/ 2442546 w 2990749"/>
              <a:gd name="connsiteY1" fmla="*/ 0 h 6871448"/>
              <a:gd name="connsiteX2" fmla="*/ 2532461 w 2990749"/>
              <a:gd name="connsiteY2" fmla="*/ 156377 h 6871448"/>
              <a:gd name="connsiteX3" fmla="*/ 2990749 w 2990749"/>
              <a:gd name="connsiteY3" fmla="*/ 1966296 h 6871448"/>
              <a:gd name="connsiteX4" fmla="*/ 2990749 w 2990749"/>
              <a:gd name="connsiteY4" fmla="*/ 4918599 h 6871448"/>
              <a:gd name="connsiteX5" fmla="*/ 2532461 w 2990749"/>
              <a:gd name="connsiteY5" fmla="*/ 6728518 h 6871448"/>
              <a:gd name="connsiteX6" fmla="*/ 2450278 w 2990749"/>
              <a:gd name="connsiteY6" fmla="*/ 6871448 h 6871448"/>
              <a:gd name="connsiteX7" fmla="*/ 0 w 2990749"/>
              <a:gd name="connsiteY7" fmla="*/ 6871448 h 6871448"/>
              <a:gd name="connsiteX8" fmla="*/ 0 w 2990749"/>
              <a:gd name="connsiteY8" fmla="*/ 0 h 6871448"/>
              <a:gd name="connsiteX0" fmla="*/ 0 w 2990749"/>
              <a:gd name="connsiteY0" fmla="*/ 6871448 h 6871448"/>
              <a:gd name="connsiteX1" fmla="*/ 2442546 w 2990749"/>
              <a:gd name="connsiteY1" fmla="*/ 0 h 6871448"/>
              <a:gd name="connsiteX2" fmla="*/ 2532461 w 2990749"/>
              <a:gd name="connsiteY2" fmla="*/ 156377 h 6871448"/>
              <a:gd name="connsiteX3" fmla="*/ 2990749 w 2990749"/>
              <a:gd name="connsiteY3" fmla="*/ 1966296 h 6871448"/>
              <a:gd name="connsiteX4" fmla="*/ 2990749 w 2990749"/>
              <a:gd name="connsiteY4" fmla="*/ 4918599 h 6871448"/>
              <a:gd name="connsiteX5" fmla="*/ 2532461 w 2990749"/>
              <a:gd name="connsiteY5" fmla="*/ 6728518 h 6871448"/>
              <a:gd name="connsiteX6" fmla="*/ 2450278 w 2990749"/>
              <a:gd name="connsiteY6" fmla="*/ 6871448 h 6871448"/>
              <a:gd name="connsiteX7" fmla="*/ 0 w 2990749"/>
              <a:gd name="connsiteY7" fmla="*/ 6871448 h 6871448"/>
              <a:gd name="connsiteX0" fmla="*/ 0 w 2990749"/>
              <a:gd name="connsiteY0" fmla="*/ 6871448 h 6962888"/>
              <a:gd name="connsiteX1" fmla="*/ 2442546 w 2990749"/>
              <a:gd name="connsiteY1" fmla="*/ 0 h 6962888"/>
              <a:gd name="connsiteX2" fmla="*/ 2532461 w 2990749"/>
              <a:gd name="connsiteY2" fmla="*/ 156377 h 6962888"/>
              <a:gd name="connsiteX3" fmla="*/ 2990749 w 2990749"/>
              <a:gd name="connsiteY3" fmla="*/ 1966296 h 6962888"/>
              <a:gd name="connsiteX4" fmla="*/ 2990749 w 2990749"/>
              <a:gd name="connsiteY4" fmla="*/ 4918599 h 6962888"/>
              <a:gd name="connsiteX5" fmla="*/ 2532461 w 2990749"/>
              <a:gd name="connsiteY5" fmla="*/ 6728518 h 6962888"/>
              <a:gd name="connsiteX6" fmla="*/ 2450278 w 2990749"/>
              <a:gd name="connsiteY6" fmla="*/ 6871448 h 6962888"/>
              <a:gd name="connsiteX7" fmla="*/ 91440 w 2990749"/>
              <a:gd name="connsiteY7" fmla="*/ 6962888 h 6962888"/>
              <a:gd name="connsiteX0" fmla="*/ 0 w 2990749"/>
              <a:gd name="connsiteY0" fmla="*/ 6871448 h 6871448"/>
              <a:gd name="connsiteX1" fmla="*/ 2442546 w 2990749"/>
              <a:gd name="connsiteY1" fmla="*/ 0 h 6871448"/>
              <a:gd name="connsiteX2" fmla="*/ 2532461 w 2990749"/>
              <a:gd name="connsiteY2" fmla="*/ 156377 h 6871448"/>
              <a:gd name="connsiteX3" fmla="*/ 2990749 w 2990749"/>
              <a:gd name="connsiteY3" fmla="*/ 1966296 h 6871448"/>
              <a:gd name="connsiteX4" fmla="*/ 2990749 w 2990749"/>
              <a:gd name="connsiteY4" fmla="*/ 4918599 h 6871448"/>
              <a:gd name="connsiteX5" fmla="*/ 2532461 w 2990749"/>
              <a:gd name="connsiteY5" fmla="*/ 6728518 h 6871448"/>
              <a:gd name="connsiteX6" fmla="*/ 2450278 w 2990749"/>
              <a:gd name="connsiteY6" fmla="*/ 6871448 h 6871448"/>
              <a:gd name="connsiteX0" fmla="*/ 0 w 548203"/>
              <a:gd name="connsiteY0" fmla="*/ 0 h 6871448"/>
              <a:gd name="connsiteX1" fmla="*/ 89915 w 548203"/>
              <a:gd name="connsiteY1" fmla="*/ 156377 h 6871448"/>
              <a:gd name="connsiteX2" fmla="*/ 548203 w 548203"/>
              <a:gd name="connsiteY2" fmla="*/ 1966296 h 6871448"/>
              <a:gd name="connsiteX3" fmla="*/ 548203 w 548203"/>
              <a:gd name="connsiteY3" fmla="*/ 4918599 h 6871448"/>
              <a:gd name="connsiteX4" fmla="*/ 89915 w 548203"/>
              <a:gd name="connsiteY4" fmla="*/ 6728518 h 6871448"/>
              <a:gd name="connsiteX5" fmla="*/ 7732 w 548203"/>
              <a:gd name="connsiteY5" fmla="*/ 6871448 h 6871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203" h="6871448">
                <a:moveTo>
                  <a:pt x="0" y="0"/>
                </a:moveTo>
                <a:lnTo>
                  <a:pt x="89915" y="156377"/>
                </a:lnTo>
                <a:cubicBezTo>
                  <a:pt x="382186" y="694400"/>
                  <a:pt x="548203" y="1310960"/>
                  <a:pt x="548203" y="1966296"/>
                </a:cubicBezTo>
                <a:lnTo>
                  <a:pt x="548203" y="4918599"/>
                </a:lnTo>
                <a:cubicBezTo>
                  <a:pt x="548203" y="5573935"/>
                  <a:pt x="382186" y="6190495"/>
                  <a:pt x="89915" y="6728518"/>
                </a:cubicBezTo>
                <a:lnTo>
                  <a:pt x="7732" y="6871448"/>
                </a:lnTo>
              </a:path>
            </a:pathLst>
          </a:cu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endParaRPr>
          </a:p>
        </p:txBody>
      </p:sp>
      <p:sp>
        <p:nvSpPr>
          <p:cNvPr id="52" name="Freeform 51"/>
          <p:cNvSpPr/>
          <p:nvPr/>
        </p:nvSpPr>
        <p:spPr>
          <a:xfrm>
            <a:off x="2272232" y="-13447"/>
            <a:ext cx="2194675" cy="6871449"/>
          </a:xfrm>
          <a:custGeom>
            <a:avLst/>
            <a:gdLst>
              <a:gd name="connsiteX0" fmla="*/ 0 w 4453460"/>
              <a:gd name="connsiteY0" fmla="*/ 0 h 6871449"/>
              <a:gd name="connsiteX1" fmla="*/ 2258785 w 4453460"/>
              <a:gd name="connsiteY1" fmla="*/ 0 h 6871449"/>
              <a:gd name="connsiteX2" fmla="*/ 2302564 w 4453460"/>
              <a:gd name="connsiteY2" fmla="*/ 19792 h 6871449"/>
              <a:gd name="connsiteX3" fmla="*/ 4453460 w 4453460"/>
              <a:gd name="connsiteY3" fmla="*/ 3442450 h 6871449"/>
              <a:gd name="connsiteX4" fmla="*/ 2302564 w 4453460"/>
              <a:gd name="connsiteY4" fmla="*/ 6865107 h 6871449"/>
              <a:gd name="connsiteX5" fmla="*/ 2288536 w 4453460"/>
              <a:gd name="connsiteY5" fmla="*/ 6871449 h 6871449"/>
              <a:gd name="connsiteX6" fmla="*/ 0 w 4453460"/>
              <a:gd name="connsiteY6" fmla="*/ 6871449 h 6871449"/>
              <a:gd name="connsiteX7" fmla="*/ 0 w 4453460"/>
              <a:gd name="connsiteY7" fmla="*/ 0 h 6871449"/>
              <a:gd name="connsiteX0" fmla="*/ 0 w 4453460"/>
              <a:gd name="connsiteY0" fmla="*/ 6871449 h 6871449"/>
              <a:gd name="connsiteX1" fmla="*/ 2258785 w 4453460"/>
              <a:gd name="connsiteY1" fmla="*/ 0 h 6871449"/>
              <a:gd name="connsiteX2" fmla="*/ 2302564 w 4453460"/>
              <a:gd name="connsiteY2" fmla="*/ 19792 h 6871449"/>
              <a:gd name="connsiteX3" fmla="*/ 4453460 w 4453460"/>
              <a:gd name="connsiteY3" fmla="*/ 3442450 h 6871449"/>
              <a:gd name="connsiteX4" fmla="*/ 2302564 w 4453460"/>
              <a:gd name="connsiteY4" fmla="*/ 6865107 h 6871449"/>
              <a:gd name="connsiteX5" fmla="*/ 2288536 w 4453460"/>
              <a:gd name="connsiteY5" fmla="*/ 6871449 h 6871449"/>
              <a:gd name="connsiteX6" fmla="*/ 0 w 4453460"/>
              <a:gd name="connsiteY6" fmla="*/ 6871449 h 6871449"/>
              <a:gd name="connsiteX0" fmla="*/ 0 w 4453460"/>
              <a:gd name="connsiteY0" fmla="*/ 6871449 h 6962889"/>
              <a:gd name="connsiteX1" fmla="*/ 2258785 w 4453460"/>
              <a:gd name="connsiteY1" fmla="*/ 0 h 6962889"/>
              <a:gd name="connsiteX2" fmla="*/ 2302564 w 4453460"/>
              <a:gd name="connsiteY2" fmla="*/ 19792 h 6962889"/>
              <a:gd name="connsiteX3" fmla="*/ 4453460 w 4453460"/>
              <a:gd name="connsiteY3" fmla="*/ 3442450 h 6962889"/>
              <a:gd name="connsiteX4" fmla="*/ 2302564 w 4453460"/>
              <a:gd name="connsiteY4" fmla="*/ 6865107 h 6962889"/>
              <a:gd name="connsiteX5" fmla="*/ 2288536 w 4453460"/>
              <a:gd name="connsiteY5" fmla="*/ 6871449 h 6962889"/>
              <a:gd name="connsiteX6" fmla="*/ 91440 w 4453460"/>
              <a:gd name="connsiteY6" fmla="*/ 6962889 h 6962889"/>
              <a:gd name="connsiteX0" fmla="*/ 0 w 4453460"/>
              <a:gd name="connsiteY0" fmla="*/ 6871449 h 6871449"/>
              <a:gd name="connsiteX1" fmla="*/ 2258785 w 4453460"/>
              <a:gd name="connsiteY1" fmla="*/ 0 h 6871449"/>
              <a:gd name="connsiteX2" fmla="*/ 2302564 w 4453460"/>
              <a:gd name="connsiteY2" fmla="*/ 19792 h 6871449"/>
              <a:gd name="connsiteX3" fmla="*/ 4453460 w 4453460"/>
              <a:gd name="connsiteY3" fmla="*/ 3442450 h 6871449"/>
              <a:gd name="connsiteX4" fmla="*/ 2302564 w 4453460"/>
              <a:gd name="connsiteY4" fmla="*/ 6865107 h 6871449"/>
              <a:gd name="connsiteX5" fmla="*/ 2288536 w 4453460"/>
              <a:gd name="connsiteY5" fmla="*/ 6871449 h 6871449"/>
              <a:gd name="connsiteX0" fmla="*/ 0 w 2194675"/>
              <a:gd name="connsiteY0" fmla="*/ 0 h 6871449"/>
              <a:gd name="connsiteX1" fmla="*/ 43779 w 2194675"/>
              <a:gd name="connsiteY1" fmla="*/ 19792 h 6871449"/>
              <a:gd name="connsiteX2" fmla="*/ 2194675 w 2194675"/>
              <a:gd name="connsiteY2" fmla="*/ 3442450 h 6871449"/>
              <a:gd name="connsiteX3" fmla="*/ 43779 w 2194675"/>
              <a:gd name="connsiteY3" fmla="*/ 6865107 h 6871449"/>
              <a:gd name="connsiteX4" fmla="*/ 29751 w 2194675"/>
              <a:gd name="connsiteY4" fmla="*/ 6871449 h 6871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4675" h="6871449">
                <a:moveTo>
                  <a:pt x="0" y="0"/>
                </a:moveTo>
                <a:lnTo>
                  <a:pt x="43779" y="19792"/>
                </a:lnTo>
                <a:cubicBezTo>
                  <a:pt x="1316444" y="633025"/>
                  <a:pt x="2194675" y="1935178"/>
                  <a:pt x="2194675" y="3442450"/>
                </a:cubicBezTo>
                <a:cubicBezTo>
                  <a:pt x="2194675" y="4949722"/>
                  <a:pt x="1316443" y="6251874"/>
                  <a:pt x="43779" y="6865107"/>
                </a:cubicBezTo>
                <a:lnTo>
                  <a:pt x="29751" y="6871449"/>
                </a:lnTo>
              </a:path>
            </a:pathLst>
          </a:cu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endParaRPr>
          </a:p>
        </p:txBody>
      </p:sp>
      <p:sp>
        <p:nvSpPr>
          <p:cNvPr id="40" name="Freeform 39"/>
          <p:cNvSpPr/>
          <p:nvPr/>
        </p:nvSpPr>
        <p:spPr>
          <a:xfrm>
            <a:off x="848642" y="-13449"/>
            <a:ext cx="3421130" cy="6871448"/>
          </a:xfrm>
          <a:custGeom>
            <a:avLst/>
            <a:gdLst>
              <a:gd name="connsiteX0" fmla="*/ 0 w 4269772"/>
              <a:gd name="connsiteY0" fmla="*/ 0 h 6871448"/>
              <a:gd name="connsiteX1" fmla="*/ 3137318 w 4269772"/>
              <a:gd name="connsiteY1" fmla="*/ 0 h 6871448"/>
              <a:gd name="connsiteX2" fmla="*/ 3182422 w 4269772"/>
              <a:gd name="connsiteY2" fmla="*/ 43781 h 6871448"/>
              <a:gd name="connsiteX3" fmla="*/ 3760425 w 4269772"/>
              <a:gd name="connsiteY3" fmla="*/ 805826 h 6871448"/>
              <a:gd name="connsiteX4" fmla="*/ 2370594 w 4269772"/>
              <a:gd name="connsiteY4" fmla="*/ 5992749 h 6871448"/>
              <a:gd name="connsiteX5" fmla="*/ 848642 w 4269772"/>
              <a:gd name="connsiteY5" fmla="*/ 6871448 h 6871448"/>
              <a:gd name="connsiteX6" fmla="*/ 0 w 4269772"/>
              <a:gd name="connsiteY6" fmla="*/ 6871448 h 6871448"/>
              <a:gd name="connsiteX7" fmla="*/ 0 w 4269772"/>
              <a:gd name="connsiteY7" fmla="*/ 0 h 6871448"/>
              <a:gd name="connsiteX0" fmla="*/ 0 w 4269772"/>
              <a:gd name="connsiteY0" fmla="*/ 6871448 h 6871448"/>
              <a:gd name="connsiteX1" fmla="*/ 3137318 w 4269772"/>
              <a:gd name="connsiteY1" fmla="*/ 0 h 6871448"/>
              <a:gd name="connsiteX2" fmla="*/ 3182422 w 4269772"/>
              <a:gd name="connsiteY2" fmla="*/ 43781 h 6871448"/>
              <a:gd name="connsiteX3" fmla="*/ 3760425 w 4269772"/>
              <a:gd name="connsiteY3" fmla="*/ 805826 h 6871448"/>
              <a:gd name="connsiteX4" fmla="*/ 2370594 w 4269772"/>
              <a:gd name="connsiteY4" fmla="*/ 5992749 h 6871448"/>
              <a:gd name="connsiteX5" fmla="*/ 848642 w 4269772"/>
              <a:gd name="connsiteY5" fmla="*/ 6871448 h 6871448"/>
              <a:gd name="connsiteX6" fmla="*/ 0 w 4269772"/>
              <a:gd name="connsiteY6" fmla="*/ 6871448 h 6871448"/>
              <a:gd name="connsiteX0" fmla="*/ 0 w 4269772"/>
              <a:gd name="connsiteY0" fmla="*/ 6871448 h 6962888"/>
              <a:gd name="connsiteX1" fmla="*/ 3137318 w 4269772"/>
              <a:gd name="connsiteY1" fmla="*/ 0 h 6962888"/>
              <a:gd name="connsiteX2" fmla="*/ 3182422 w 4269772"/>
              <a:gd name="connsiteY2" fmla="*/ 43781 h 6962888"/>
              <a:gd name="connsiteX3" fmla="*/ 3760425 w 4269772"/>
              <a:gd name="connsiteY3" fmla="*/ 805826 h 6962888"/>
              <a:gd name="connsiteX4" fmla="*/ 2370594 w 4269772"/>
              <a:gd name="connsiteY4" fmla="*/ 5992749 h 6962888"/>
              <a:gd name="connsiteX5" fmla="*/ 848642 w 4269772"/>
              <a:gd name="connsiteY5" fmla="*/ 6871448 h 6962888"/>
              <a:gd name="connsiteX6" fmla="*/ 91440 w 4269772"/>
              <a:gd name="connsiteY6" fmla="*/ 6962888 h 6962888"/>
              <a:gd name="connsiteX0" fmla="*/ 0 w 4269772"/>
              <a:gd name="connsiteY0" fmla="*/ 6871448 h 6871448"/>
              <a:gd name="connsiteX1" fmla="*/ 3137318 w 4269772"/>
              <a:gd name="connsiteY1" fmla="*/ 0 h 6871448"/>
              <a:gd name="connsiteX2" fmla="*/ 3182422 w 4269772"/>
              <a:gd name="connsiteY2" fmla="*/ 43781 h 6871448"/>
              <a:gd name="connsiteX3" fmla="*/ 3760425 w 4269772"/>
              <a:gd name="connsiteY3" fmla="*/ 805826 h 6871448"/>
              <a:gd name="connsiteX4" fmla="*/ 2370594 w 4269772"/>
              <a:gd name="connsiteY4" fmla="*/ 5992749 h 6871448"/>
              <a:gd name="connsiteX5" fmla="*/ 848642 w 4269772"/>
              <a:gd name="connsiteY5" fmla="*/ 6871448 h 6871448"/>
              <a:gd name="connsiteX0" fmla="*/ 2288676 w 3421130"/>
              <a:gd name="connsiteY0" fmla="*/ 0 h 6871448"/>
              <a:gd name="connsiteX1" fmla="*/ 2333780 w 3421130"/>
              <a:gd name="connsiteY1" fmla="*/ 43781 h 6871448"/>
              <a:gd name="connsiteX2" fmla="*/ 2911783 w 3421130"/>
              <a:gd name="connsiteY2" fmla="*/ 805826 h 6871448"/>
              <a:gd name="connsiteX3" fmla="*/ 1521952 w 3421130"/>
              <a:gd name="connsiteY3" fmla="*/ 5992749 h 6871448"/>
              <a:gd name="connsiteX4" fmla="*/ 0 w 3421130"/>
              <a:gd name="connsiteY4" fmla="*/ 6871448 h 6871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1130" h="6871448">
                <a:moveTo>
                  <a:pt x="2288676" y="0"/>
                </a:moveTo>
                <a:lnTo>
                  <a:pt x="2333780" y="43781"/>
                </a:lnTo>
                <a:cubicBezTo>
                  <a:pt x="2553018" y="267436"/>
                  <a:pt x="2747949" y="522057"/>
                  <a:pt x="2911783" y="805826"/>
                </a:cubicBezTo>
                <a:cubicBezTo>
                  <a:pt x="3960321" y="2621946"/>
                  <a:pt x="3338072" y="4944211"/>
                  <a:pt x="1521952" y="5992749"/>
                </a:cubicBezTo>
                <a:lnTo>
                  <a:pt x="0" y="6871448"/>
                </a:lnTo>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endParaRPr>
          </a:p>
        </p:txBody>
      </p:sp>
      <p:sp>
        <p:nvSpPr>
          <p:cNvPr id="3" name="Rectangle 2">
            <a:extLst>
              <a:ext uri="{FF2B5EF4-FFF2-40B4-BE49-F238E27FC236}">
                <a16:creationId xmlns:a16="http://schemas.microsoft.com/office/drawing/2014/main" id="{4B4EAFB7-1B94-40CC-A1B5-65AFD6F63212}"/>
              </a:ext>
            </a:extLst>
          </p:cNvPr>
          <p:cNvSpPr/>
          <p:nvPr/>
        </p:nvSpPr>
        <p:spPr>
          <a:xfrm>
            <a:off x="4802364" y="927344"/>
            <a:ext cx="6862555" cy="830997"/>
          </a:xfrm>
          <a:prstGeom prst="rect">
            <a:avLst/>
          </a:prstGeom>
        </p:spPr>
        <p:txBody>
          <a:bodyPr wrap="square">
            <a:spAutoFit/>
          </a:bodyPr>
          <a:lstStyle/>
          <a:p>
            <a:pPr>
              <a:buSzPct val="100000"/>
              <a:buFont typeface="Trebuchet MS" panose="020B0603020202020204" pitchFamily="34" charset="0"/>
              <a:buChar char="​"/>
            </a:pPr>
            <a:r>
              <a:rPr lang="en-US" sz="1600" dirty="0" err="1">
                <a:solidFill>
                  <a:schemeClr val="tx1">
                    <a:lumMod val="100000"/>
                  </a:schemeClr>
                </a:solidFill>
                <a:latin typeface="Trebuchet MS" panose="020B0603020202020204" pitchFamily="34" charset="0"/>
              </a:rPr>
              <a:t>Lorum</a:t>
            </a:r>
            <a:r>
              <a:rPr lang="en-US" sz="1600" dirty="0">
                <a:solidFill>
                  <a:schemeClr val="tx1">
                    <a:lumMod val="100000"/>
                  </a:schemeClr>
                </a:solidFill>
                <a:latin typeface="Trebuchet MS" panose="020B0603020202020204" pitchFamily="34" charset="0"/>
              </a:rPr>
              <a:t> ipsum dolor</a:t>
            </a:r>
          </a:p>
          <a:p>
            <a:pPr>
              <a:buSzPct val="100000"/>
              <a:buFont typeface="Trebuchet MS" panose="020B0603020202020204" pitchFamily="34" charset="0"/>
              <a:buChar char="​"/>
            </a:pPr>
            <a:endParaRPr lang="en-US" sz="1600" dirty="0">
              <a:solidFill>
                <a:schemeClr val="tx1">
                  <a:lumMod val="100000"/>
                </a:schemeClr>
              </a:solidFill>
              <a:latin typeface="Trebuchet MS" panose="020B0603020202020204" pitchFamily="34" charset="0"/>
            </a:endParaRPr>
          </a:p>
          <a:p>
            <a:pP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Sample text</a:t>
            </a:r>
          </a:p>
        </p:txBody>
      </p:sp>
      <p:sp>
        <p:nvSpPr>
          <p:cNvPr id="2" name="TextBox 1">
            <a:extLst>
              <a:ext uri="{FF2B5EF4-FFF2-40B4-BE49-F238E27FC236}">
                <a16:creationId xmlns:a16="http://schemas.microsoft.com/office/drawing/2014/main" id="{E03BB34A-709C-480E-82F4-C20A77F45187}"/>
              </a:ext>
            </a:extLst>
          </p:cNvPr>
          <p:cNvSpPr txBox="1"/>
          <p:nvPr/>
        </p:nvSpPr>
        <p:spPr>
          <a:xfrm>
            <a:off x="233925" y="2164791"/>
            <a:ext cx="2148512" cy="25418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dirty="0">
                <a:solidFill>
                  <a:srgbClr val="29BA74"/>
                </a:solidFill>
              </a:rPr>
              <a:t>Objectives for this playbook</a:t>
            </a:r>
          </a:p>
        </p:txBody>
      </p:sp>
      <p:sp>
        <p:nvSpPr>
          <p:cNvPr id="11" name="Textfeld 1">
            <a:extLst>
              <a:ext uri="{FF2B5EF4-FFF2-40B4-BE49-F238E27FC236}">
                <a16:creationId xmlns:a16="http://schemas.microsoft.com/office/drawing/2014/main" id="{A8A173D4-E2A4-42B1-BA81-22D01D692283}"/>
              </a:ext>
            </a:extLst>
          </p:cNvPr>
          <p:cNvSpPr txBox="1"/>
          <p:nvPr>
            <p:custDataLst>
              <p:tags r:id="rId1"/>
            </p:custDataLst>
          </p:nvPr>
        </p:nvSpPr>
        <p:spPr>
          <a:xfrm>
            <a:off x="8046725" y="927344"/>
            <a:ext cx="2743200" cy="2286780"/>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14.Sep.20:
Provide information on what is available and what is possible in LAB to support your learning needs</a:t>
            </a:r>
          </a:p>
          <a:p>
            <a:pPr>
              <a:lnSpc>
                <a:spcPct val="90000"/>
              </a:lnSpc>
              <a:spcAft>
                <a:spcPts val="600"/>
              </a:spcAft>
            </a:pPr>
            <a:endParaRPr lang="en-US" sz="1200" b="1" dirty="0">
              <a:solidFill>
                <a:srgbClr val="575757"/>
              </a:solidFill>
              <a:sym typeface="Trebuchet MS" panose="020B0603020202020204" pitchFamily="34" charset="0"/>
            </a:endParaRPr>
          </a:p>
          <a:p>
            <a:pPr>
              <a:lnSpc>
                <a:spcPct val="90000"/>
              </a:lnSpc>
              <a:spcAft>
                <a:spcPts val="600"/>
              </a:spcAft>
            </a:pPr>
            <a:r>
              <a:rPr lang="en-US" sz="1200" b="1" dirty="0">
                <a:solidFill>
                  <a:srgbClr val="575757"/>
                </a:solidFill>
                <a:sym typeface="Trebuchet MS" panose="020B0603020202020204" pitchFamily="34" charset="0"/>
              </a:rPr>
              <a:t>Outline key questions to best understand needs/objectives for the platform</a:t>
            </a:r>
          </a:p>
          <a:p>
            <a:pPr>
              <a:lnSpc>
                <a:spcPct val="90000"/>
              </a:lnSpc>
              <a:spcAft>
                <a:spcPts val="600"/>
              </a:spcAft>
            </a:pPr>
            <a:endParaRPr lang="en-US" sz="1200" b="1" dirty="0">
              <a:solidFill>
                <a:srgbClr val="575757"/>
              </a:solidFill>
              <a:sym typeface="Trebuchet MS" panose="020B0603020202020204" pitchFamily="34" charset="0"/>
            </a:endParaRPr>
          </a:p>
          <a:p>
            <a:pPr>
              <a:lnSpc>
                <a:spcPct val="90000"/>
              </a:lnSpc>
              <a:spcAft>
                <a:spcPts val="600"/>
              </a:spcAft>
            </a:pPr>
            <a:r>
              <a:rPr lang="en-US" sz="1200" b="1" dirty="0">
                <a:solidFill>
                  <a:srgbClr val="575757"/>
                </a:solidFill>
                <a:sym typeface="Trebuchet MS" panose="020B0603020202020204" pitchFamily="34" charset="0"/>
              </a:rPr>
              <a:t>Provide information on ways in which we can engage and process </a:t>
            </a:r>
          </a:p>
        </p:txBody>
      </p:sp>
      <p:sp>
        <p:nvSpPr>
          <p:cNvPr id="12" name="Textfeld 1">
            <a:extLst>
              <a:ext uri="{FF2B5EF4-FFF2-40B4-BE49-F238E27FC236}">
                <a16:creationId xmlns:a16="http://schemas.microsoft.com/office/drawing/2014/main" id="{F109BF2C-4410-497C-AD01-7580F092323D}"/>
              </a:ext>
            </a:extLst>
          </p:cNvPr>
          <p:cNvSpPr txBox="1"/>
          <p:nvPr>
            <p:custDataLst>
              <p:tags r:id="rId2"/>
            </p:custDataLst>
          </p:nvPr>
        </p:nvSpPr>
        <p:spPr>
          <a:xfrm>
            <a:off x="4527017" y="2612701"/>
            <a:ext cx="3045000" cy="3117777"/>
          </a:xfrm>
          <a:prstGeom prst="rect">
            <a:avLst/>
          </a:prstGeom>
          <a:pattFill>
            <a:fgClr>
              <a:srgbClr val="7FFA00"/>
            </a:fgClr>
            <a:bgClr>
              <a:srgbClr val="7FFA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Shobhit 16.Sep.20:
Additional ideas to keep / incorporate / ignore based on final scope of the document we land with –</a:t>
            </a:r>
          </a:p>
          <a:p>
            <a:pPr marL="171450" indent="-171450">
              <a:lnSpc>
                <a:spcPct val="90000"/>
              </a:lnSpc>
              <a:spcAft>
                <a:spcPts val="600"/>
              </a:spcAft>
              <a:buFontTx/>
              <a:buChar char="-"/>
            </a:pPr>
            <a:r>
              <a:rPr lang="en-US" sz="1200" b="1" dirty="0">
                <a:solidFill>
                  <a:srgbClr val="575757"/>
                </a:solidFill>
                <a:sym typeface="Trebuchet MS" panose="020B0603020202020204" pitchFamily="34" charset="0"/>
              </a:rPr>
              <a:t>Familiarize you with some of the personalization features of LAB available to you and your learners</a:t>
            </a:r>
          </a:p>
          <a:p>
            <a:pPr marL="171450" indent="-171450">
              <a:lnSpc>
                <a:spcPct val="90000"/>
              </a:lnSpc>
              <a:spcAft>
                <a:spcPts val="600"/>
              </a:spcAft>
              <a:buFontTx/>
              <a:buChar char="-"/>
            </a:pPr>
            <a:r>
              <a:rPr lang="en-US" sz="1200" b="1" dirty="0">
                <a:solidFill>
                  <a:srgbClr val="575757"/>
                </a:solidFill>
                <a:sym typeface="Trebuchet MS" panose="020B0603020202020204" pitchFamily="34" charset="0"/>
              </a:rPr>
              <a:t>Outline key questions for you to consider as you look to customize / personalize the LAB experience for your learners</a:t>
            </a:r>
          </a:p>
          <a:p>
            <a:pPr marL="171450" indent="-171450">
              <a:lnSpc>
                <a:spcPct val="90000"/>
              </a:lnSpc>
              <a:spcAft>
                <a:spcPts val="600"/>
              </a:spcAft>
              <a:buFontTx/>
              <a:buChar char="-"/>
            </a:pPr>
            <a:r>
              <a:rPr lang="en-US" sz="1200" b="1" dirty="0">
                <a:solidFill>
                  <a:srgbClr val="575757"/>
                </a:solidFill>
                <a:sym typeface="Trebuchet MS" panose="020B0603020202020204" pitchFamily="34" charset="0"/>
              </a:rPr>
              <a:t>Share some examples of how LAB is being used today</a:t>
            </a:r>
          </a:p>
          <a:p>
            <a:pPr marL="171450" indent="-171450">
              <a:lnSpc>
                <a:spcPct val="90000"/>
              </a:lnSpc>
              <a:spcAft>
                <a:spcPts val="600"/>
              </a:spcAft>
              <a:buFontTx/>
              <a:buChar char="-"/>
            </a:pPr>
            <a:r>
              <a:rPr lang="en-US" sz="1200" b="1" dirty="0">
                <a:solidFill>
                  <a:srgbClr val="575757"/>
                </a:solidFill>
                <a:sym typeface="Trebuchet MS" panose="020B0603020202020204" pitchFamily="34" charset="0"/>
              </a:rPr>
              <a:t>Outline key decision points that can help you choose from the available personalization options</a:t>
            </a:r>
          </a:p>
        </p:txBody>
      </p:sp>
    </p:spTree>
    <p:extLst>
      <p:ext uri="{BB962C8B-B14F-4D97-AF65-F5344CB8AC3E}">
        <p14:creationId xmlns:p14="http://schemas.microsoft.com/office/powerpoint/2010/main" val="3548939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D52A5BE-7DA7-451F-9E02-52CA7B9BDEB5}"/>
              </a:ext>
            </a:extLst>
          </p:cNvPr>
          <p:cNvGraphicFramePr>
            <a:graphicFrameLocks noChangeAspect="1"/>
          </p:cNvGraphicFramePr>
          <p:nvPr>
            <p:custDataLst>
              <p:tags r:id="rId3"/>
            </p:custDataLst>
            <p:extLst>
              <p:ext uri="{D42A27DB-BD31-4B8C-83A1-F6EECF244321}">
                <p14:modId xmlns:p14="http://schemas.microsoft.com/office/powerpoint/2010/main" val="1641163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Slide" r:id="rId10" imgW="395" imgH="394" progId="TCLayout.ActiveDocument.1">
                  <p:embed/>
                </p:oleObj>
              </mc:Choice>
              <mc:Fallback>
                <p:oleObj name="think-cell Slide" r:id="rId10" imgW="395" imgH="394"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0DB4459-5C13-456E-846E-BA7F882AC23C}"/>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Available portlets glossary</a:t>
            </a:r>
          </a:p>
        </p:txBody>
      </p:sp>
      <p:sp>
        <p:nvSpPr>
          <p:cNvPr id="5" name="Textfeld 1">
            <a:extLst>
              <a:ext uri="{FF2B5EF4-FFF2-40B4-BE49-F238E27FC236}">
                <a16:creationId xmlns:a16="http://schemas.microsoft.com/office/drawing/2014/main" id="{C6AD855D-7E01-4682-A8EA-A92FE43A7183}"/>
              </a:ext>
            </a:extLst>
          </p:cNvPr>
          <p:cNvSpPr txBox="1"/>
          <p:nvPr>
            <p:custDataLst>
              <p:tags r:id="rId5"/>
            </p:custDataLst>
          </p:nvPr>
        </p:nvSpPr>
        <p:spPr>
          <a:xfrm>
            <a:off x="25200" y="1015200"/>
            <a:ext cx="2743200" cy="96949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11.Sep.20:
Placeholder</a:t>
            </a:r>
          </a:p>
          <a:p>
            <a:pPr>
              <a:lnSpc>
                <a:spcPct val="90000"/>
              </a:lnSpc>
              <a:spcAft>
                <a:spcPts val="600"/>
              </a:spcAft>
            </a:pPr>
            <a:endParaRPr lang="en-US" sz="1200" b="1" dirty="0">
              <a:solidFill>
                <a:srgbClr val="575757"/>
              </a:solidFill>
              <a:sym typeface="Trebuchet MS" panose="020B0603020202020204" pitchFamily="34" charset="0"/>
            </a:endParaRPr>
          </a:p>
          <a:p>
            <a:pPr>
              <a:lnSpc>
                <a:spcPct val="90000"/>
              </a:lnSpc>
              <a:spcAft>
                <a:spcPts val="600"/>
              </a:spcAft>
            </a:pPr>
            <a:r>
              <a:rPr lang="en-US" sz="1200" b="1" dirty="0">
                <a:solidFill>
                  <a:srgbClr val="575757"/>
                </a:solidFill>
                <a:sym typeface="Trebuchet MS" panose="020B0603020202020204" pitchFamily="34" charset="0"/>
              </a:rPr>
              <a:t>Should we include?</a:t>
            </a:r>
          </a:p>
        </p:txBody>
      </p:sp>
      <p:sp>
        <p:nvSpPr>
          <p:cNvPr id="6" name="Textfeld 1">
            <a:extLst>
              <a:ext uri="{FF2B5EF4-FFF2-40B4-BE49-F238E27FC236}">
                <a16:creationId xmlns:a16="http://schemas.microsoft.com/office/drawing/2014/main" id="{F90279BD-6B1A-4BB1-82F1-2E24CCB77331}"/>
              </a:ext>
            </a:extLst>
          </p:cNvPr>
          <p:cNvSpPr txBox="1"/>
          <p:nvPr>
            <p:custDataLst>
              <p:tags r:id="rId6"/>
            </p:custDataLst>
          </p:nvPr>
        </p:nvSpPr>
        <p:spPr>
          <a:xfrm>
            <a:off x="3164053" y="1015200"/>
            <a:ext cx="2743200" cy="981807"/>
          </a:xfrm>
          <a:prstGeom prst="rect">
            <a:avLst/>
          </a:prstGeom>
          <a:pattFill>
            <a:fgClr>
              <a:srgbClr val="7FFA00"/>
            </a:fgClr>
            <a:bgClr>
              <a:srgbClr val="7FFA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Shobhit 16.Sep.20:
Could also include some resources to familiarize audience with Saba Cloud – LAB modules, other guides, slack channels</a:t>
            </a:r>
          </a:p>
        </p:txBody>
      </p:sp>
      <p:sp>
        <p:nvSpPr>
          <p:cNvPr id="7" name="Textfeld 1">
            <a:extLst>
              <a:ext uri="{FF2B5EF4-FFF2-40B4-BE49-F238E27FC236}">
                <a16:creationId xmlns:a16="http://schemas.microsoft.com/office/drawing/2014/main" id="{85CDB75A-19BB-45E1-A22A-4D3A75E6C153}"/>
              </a:ext>
            </a:extLst>
          </p:cNvPr>
          <p:cNvSpPr txBox="1"/>
          <p:nvPr>
            <p:custDataLst>
              <p:tags r:id="rId7"/>
            </p:custDataLst>
          </p:nvPr>
        </p:nvSpPr>
        <p:spPr>
          <a:xfrm>
            <a:off x="15082" y="53816"/>
            <a:ext cx="2743200" cy="483209"/>
          </a:xfrm>
          <a:prstGeom prst="rect">
            <a:avLst/>
          </a:prstGeom>
          <a:pattFill>
            <a:fgClr>
              <a:srgbClr val="7FFA00"/>
            </a:fgClr>
            <a:bgClr>
              <a:srgbClr val="7FFA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12.Feb.21:
Charles to add </a:t>
            </a:r>
          </a:p>
        </p:txBody>
      </p:sp>
    </p:spTree>
    <p:custDataLst>
      <p:tags r:id="rId2"/>
    </p:custDataLst>
    <p:extLst>
      <p:ext uri="{BB962C8B-B14F-4D97-AF65-F5344CB8AC3E}">
        <p14:creationId xmlns:p14="http://schemas.microsoft.com/office/powerpoint/2010/main" val="1097472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7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04C421-FA66-45C8-94A1-B4294EB64E82}"/>
              </a:ext>
            </a:extLst>
          </p:cNvPr>
          <p:cNvGraphicFramePr>
            <a:graphicFrameLocks noChangeAspect="1"/>
          </p:cNvGraphicFramePr>
          <p:nvPr>
            <p:custDataLst>
              <p:tags r:id="rId3"/>
            </p:custDataLst>
            <p:extLst>
              <p:ext uri="{D42A27DB-BD31-4B8C-83A1-F6EECF244321}">
                <p14:modId xmlns:p14="http://schemas.microsoft.com/office/powerpoint/2010/main" val="388598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8" imgW="395" imgH="394" progId="TCLayout.ActiveDocument.1">
                  <p:embed/>
                </p:oleObj>
              </mc:Choice>
              <mc:Fallback>
                <p:oleObj name="think-cell Slide" r:id="rId8" imgW="395" imgH="39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7C482EF-9101-4918-A407-79D7769A5395}"/>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latin typeface="Trebuchet MS" panose="020B0603020202020204" pitchFamily="34" charset="0"/>
              <a:cs typeface="Arial" panose="020B0604020202020204" pitchFamily="34" charset="0"/>
              <a:sym typeface="Trebuchet MS" panose="020B0603020202020204" pitchFamily="34" charset="0"/>
            </a:endParaRPr>
          </a:p>
        </p:txBody>
      </p:sp>
      <p:sp>
        <p:nvSpPr>
          <p:cNvPr id="2" name="Title 1"/>
          <p:cNvSpPr>
            <a:spLocks noGrp="1"/>
          </p:cNvSpPr>
          <p:nvPr>
            <p:ph type="title"/>
          </p:nvPr>
        </p:nvSpPr>
        <p:spPr/>
        <p:txBody>
          <a:bodyPr/>
          <a:lstStyle/>
          <a:p>
            <a:r>
              <a:rPr lang="en-US" dirty="0"/>
              <a:t>Make LAB your learning destination</a:t>
            </a:r>
          </a:p>
        </p:txBody>
      </p:sp>
      <p:sp>
        <p:nvSpPr>
          <p:cNvPr id="7" name="Textfeld 1">
            <a:extLst>
              <a:ext uri="{FF2B5EF4-FFF2-40B4-BE49-F238E27FC236}">
                <a16:creationId xmlns:a16="http://schemas.microsoft.com/office/drawing/2014/main" id="{6061233C-D5DF-4895-AC5A-03B9F50C3D5A}"/>
              </a:ext>
            </a:extLst>
          </p:cNvPr>
          <p:cNvSpPr txBox="1"/>
          <p:nvPr>
            <p:custDataLst>
              <p:tags r:id="rId5"/>
            </p:custDataLst>
          </p:nvPr>
        </p:nvSpPr>
        <p:spPr>
          <a:xfrm>
            <a:off x="0" y="2196300"/>
            <a:ext cx="2743200" cy="1058751"/>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28.Sep.20:
Use any of the marketing slides from the Get to Know LAB deck?</a:t>
            </a:r>
          </a:p>
          <a:p>
            <a:pPr>
              <a:lnSpc>
                <a:spcPct val="90000"/>
              </a:lnSpc>
              <a:spcAft>
                <a:spcPts val="600"/>
              </a:spcAft>
            </a:pPr>
            <a:r>
              <a:rPr lang="en-US" sz="1200" b="1" dirty="0">
                <a:solidFill>
                  <a:srgbClr val="575757"/>
                </a:solidFill>
                <a:sym typeface="Trebuchet MS" panose="020B0603020202020204" pitchFamily="34" charset="0"/>
              </a:rPr>
              <a:t>https://bcg01.egnyte.com/dl/mDpQMSyS8B</a:t>
            </a:r>
          </a:p>
        </p:txBody>
      </p:sp>
    </p:spTree>
    <p:custDataLst>
      <p:tags r:id="rId2"/>
    </p:custDataLst>
    <p:extLst>
      <p:ext uri="{BB962C8B-B14F-4D97-AF65-F5344CB8AC3E}">
        <p14:creationId xmlns:p14="http://schemas.microsoft.com/office/powerpoint/2010/main" val="3187001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Object 59" hidden="1"/>
          <p:cNvGraphicFramePr>
            <a:graphicFrameLocks noChangeAspect="1"/>
          </p:cNvGraphicFramePr>
          <p:nvPr>
            <p:custDataLst>
              <p:tags r:id="rId2"/>
            </p:custDataLst>
            <p:extLst>
              <p:ext uri="{D42A27DB-BD31-4B8C-83A1-F6EECF244321}">
                <p14:modId xmlns:p14="http://schemas.microsoft.com/office/powerpoint/2010/main" val="1697944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7" name="think-cell Slide" r:id="rId7" imgW="270" imgH="270" progId="TCLayout.ActiveDocument.1">
                  <p:embed/>
                </p:oleObj>
              </mc:Choice>
              <mc:Fallback>
                <p:oleObj name="think-cell Slide" r:id="rId7" imgW="270" imgH="270" progId="TCLayout.ActiveDocument.1">
                  <p:embed/>
                  <p:pic>
                    <p:nvPicPr>
                      <p:cNvPr id="60" name="Object 59"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BBA862F0-B211-4593-96DA-3E2E8230B54D}"/>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69" name="Oval 68">
            <a:extLst>
              <a:ext uri="{FF2B5EF4-FFF2-40B4-BE49-F238E27FC236}">
                <a16:creationId xmlns:a16="http://schemas.microsoft.com/office/drawing/2014/main" id="{79810A8C-F9AE-4359-AA0F-E85F499C34EF}"/>
              </a:ext>
            </a:extLst>
          </p:cNvPr>
          <p:cNvSpPr/>
          <p:nvPr/>
        </p:nvSpPr>
        <p:spPr>
          <a:xfrm>
            <a:off x="5432523" y="4306992"/>
            <a:ext cx="1371600" cy="1371600"/>
          </a:xfrm>
          <a:prstGeom prst="ellipse">
            <a:avLst/>
          </a:prstGeom>
          <a:solidFill>
            <a:srgbClr val="FFFFFF"/>
          </a:solidFill>
          <a:ln w="762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
        <p:nvSpPr>
          <p:cNvPr id="3" name="Title 2"/>
          <p:cNvSpPr>
            <a:spLocks noGrp="1"/>
          </p:cNvSpPr>
          <p:nvPr>
            <p:ph type="title"/>
          </p:nvPr>
        </p:nvSpPr>
        <p:spPr>
          <a:xfrm>
            <a:off x="630000" y="622800"/>
            <a:ext cx="10933200" cy="470898"/>
          </a:xfrm>
          <a:prstGeom prst="rect">
            <a:avLst/>
          </a:prstGeom>
        </p:spPr>
        <p:txBody>
          <a:bodyPr>
            <a:spAutoFit/>
          </a:bodyPr>
          <a:lstStyle/>
          <a:p>
            <a:r>
              <a:rPr lang="en-US" dirty="0">
                <a:solidFill>
                  <a:schemeClr val="tx2"/>
                </a:solidFill>
              </a:rPr>
              <a:t>LAB is designed to be a one-stop learning destination</a:t>
            </a:r>
          </a:p>
        </p:txBody>
      </p:sp>
      <p:sp>
        <p:nvSpPr>
          <p:cNvPr id="56" name="TextBox 55"/>
          <p:cNvSpPr txBox="1"/>
          <p:nvPr/>
        </p:nvSpPr>
        <p:spPr>
          <a:xfrm>
            <a:off x="4628247" y="3396902"/>
            <a:ext cx="3106957" cy="387798"/>
          </a:xfrm>
          <a:prstGeom prst="rect">
            <a:avLst/>
          </a:prstGeom>
          <a:noFill/>
        </p:spPr>
        <p:txBody>
          <a:bodyPr wrap="square" lIns="0" tIns="0" rIns="0" bIns="0" rtlCol="0" anchor="t">
            <a:spAutoFit/>
          </a:bodyPr>
          <a:lstStyle/>
          <a:p>
            <a:pPr algn="ctr">
              <a:lnSpc>
                <a:spcPct val="90000"/>
              </a:lnSpc>
            </a:pPr>
            <a:r>
              <a:rPr lang="en-US" sz="1400" dirty="0">
                <a:solidFill>
                  <a:srgbClr val="29BA74"/>
                </a:solidFill>
                <a:sym typeface="Trebuchet MS" panose="020B0603020202020204" pitchFamily="34" charset="0"/>
              </a:rPr>
              <a:t>Navigation offers many ways through which to discover content</a:t>
            </a:r>
          </a:p>
        </p:txBody>
      </p:sp>
      <p:sp>
        <p:nvSpPr>
          <p:cNvPr id="58" name="TextBox 57"/>
          <p:cNvSpPr txBox="1"/>
          <p:nvPr/>
        </p:nvSpPr>
        <p:spPr>
          <a:xfrm>
            <a:off x="8200875" y="3396902"/>
            <a:ext cx="3448050" cy="387798"/>
          </a:xfrm>
          <a:prstGeom prst="rect">
            <a:avLst/>
          </a:prstGeom>
          <a:noFill/>
        </p:spPr>
        <p:txBody>
          <a:bodyPr wrap="square" lIns="0" tIns="0" rIns="0" bIns="0" rtlCol="0" anchor="t">
            <a:spAutoFit/>
          </a:bodyPr>
          <a:lstStyle/>
          <a:p>
            <a:pPr algn="ctr">
              <a:lnSpc>
                <a:spcPct val="90000"/>
              </a:lnSpc>
              <a:spcAft>
                <a:spcPts val="600"/>
              </a:spcAft>
            </a:pPr>
            <a:r>
              <a:rPr lang="en-US" sz="1400" dirty="0">
                <a:solidFill>
                  <a:srgbClr val="29BA74"/>
                </a:solidFill>
                <a:sym typeface="Trebuchet MS" panose="020B0603020202020204" pitchFamily="34" charset="0"/>
              </a:rPr>
              <a:t>Mobile app enables on-the-go and offline learning that syncs progress to the desktop</a:t>
            </a:r>
          </a:p>
        </p:txBody>
      </p:sp>
      <p:sp>
        <p:nvSpPr>
          <p:cNvPr id="61" name="TextBox 60"/>
          <p:cNvSpPr txBox="1"/>
          <p:nvPr/>
        </p:nvSpPr>
        <p:spPr>
          <a:xfrm>
            <a:off x="715725" y="3396902"/>
            <a:ext cx="3448050" cy="581698"/>
          </a:xfrm>
          <a:prstGeom prst="rect">
            <a:avLst/>
          </a:prstGeom>
          <a:noFill/>
        </p:spPr>
        <p:txBody>
          <a:bodyPr wrap="square" lIns="0" tIns="0" rIns="0" bIns="0" rtlCol="0" anchor="t">
            <a:spAutoFit/>
          </a:bodyPr>
          <a:lstStyle/>
          <a:p>
            <a:pPr algn="ctr">
              <a:lnSpc>
                <a:spcPct val="90000"/>
              </a:lnSpc>
            </a:pPr>
            <a:r>
              <a:rPr lang="en-US" sz="1400" dirty="0">
                <a:solidFill>
                  <a:srgbClr val="29BA74"/>
                </a:solidFill>
                <a:sym typeface="Trebuchet MS" panose="020B0603020202020204" pitchFamily="34" charset="0"/>
              </a:rPr>
              <a:t>Experience the full BCG learning catalog, as well as favorite external content, </a:t>
            </a:r>
          </a:p>
          <a:p>
            <a:pPr algn="ctr">
              <a:lnSpc>
                <a:spcPct val="90000"/>
              </a:lnSpc>
            </a:pPr>
            <a:r>
              <a:rPr lang="en-US" sz="1400" dirty="0">
                <a:solidFill>
                  <a:srgbClr val="29BA74"/>
                </a:solidFill>
                <a:sym typeface="Trebuchet MS" panose="020B0603020202020204" pitchFamily="34" charset="0"/>
              </a:rPr>
              <a:t>plus exciting new formats</a:t>
            </a:r>
          </a:p>
        </p:txBody>
      </p:sp>
      <p:sp>
        <p:nvSpPr>
          <p:cNvPr id="59" name="Oval 58"/>
          <p:cNvSpPr>
            <a:spLocks noChangeAspect="1"/>
          </p:cNvSpPr>
          <p:nvPr/>
        </p:nvSpPr>
        <p:spPr>
          <a:xfrm>
            <a:off x="1774923" y="1890809"/>
            <a:ext cx="1371600" cy="1371600"/>
          </a:xfrm>
          <a:prstGeom prst="ellipse">
            <a:avLst/>
          </a:prstGeom>
          <a:solidFill>
            <a:srgbClr val="FFFFFF"/>
          </a:solidFill>
          <a:ln w="762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23" name="Group 22">
            <a:extLst>
              <a:ext uri="{FF2B5EF4-FFF2-40B4-BE49-F238E27FC236}">
                <a16:creationId xmlns:a16="http://schemas.microsoft.com/office/drawing/2014/main" id="{B626EA1E-E7D4-4D4D-A5BD-D28F76BFE095}"/>
              </a:ext>
            </a:extLst>
          </p:cNvPr>
          <p:cNvGrpSpPr>
            <a:grpSpLocks noChangeAspect="1"/>
          </p:cNvGrpSpPr>
          <p:nvPr/>
        </p:nvGrpSpPr>
        <p:grpSpPr>
          <a:xfrm>
            <a:off x="5683956" y="4541611"/>
            <a:ext cx="914398" cy="914400"/>
            <a:chOff x="5273802" y="2606040"/>
            <a:chExt cx="1644396" cy="1644398"/>
          </a:xfrm>
        </p:grpSpPr>
        <p:sp>
          <p:nvSpPr>
            <p:cNvPr id="24" name="AutoShape 108">
              <a:extLst>
                <a:ext uri="{FF2B5EF4-FFF2-40B4-BE49-F238E27FC236}">
                  <a16:creationId xmlns:a16="http://schemas.microsoft.com/office/drawing/2014/main" id="{1717E5B7-59BE-4037-B933-A4C442DC2B58}"/>
                </a:ext>
              </a:extLst>
            </p:cNvPr>
            <p:cNvSpPr>
              <a:spLocks noChangeAspect="1" noChangeArrowheads="1" noTextEdit="1"/>
            </p:cNvSpPr>
            <p:nvPr/>
          </p:nvSpPr>
          <p:spPr bwMode="auto">
            <a:xfrm>
              <a:off x="5273802" y="2606040"/>
              <a:ext cx="1644396" cy="1644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5" name="Group 24">
              <a:extLst>
                <a:ext uri="{FF2B5EF4-FFF2-40B4-BE49-F238E27FC236}">
                  <a16:creationId xmlns:a16="http://schemas.microsoft.com/office/drawing/2014/main" id="{48893CFA-948A-4D7B-AC89-D5110072BDC2}"/>
                </a:ext>
              </a:extLst>
            </p:cNvPr>
            <p:cNvGrpSpPr/>
            <p:nvPr/>
          </p:nvGrpSpPr>
          <p:grpSpPr>
            <a:xfrm>
              <a:off x="5535126" y="2847904"/>
              <a:ext cx="1138428" cy="1130089"/>
              <a:chOff x="5535126" y="2847904"/>
              <a:chExt cx="1138428" cy="1130089"/>
            </a:xfrm>
          </p:grpSpPr>
          <p:sp>
            <p:nvSpPr>
              <p:cNvPr id="26" name="Freeform 110">
                <a:extLst>
                  <a:ext uri="{FF2B5EF4-FFF2-40B4-BE49-F238E27FC236}">
                    <a16:creationId xmlns:a16="http://schemas.microsoft.com/office/drawing/2014/main" id="{F823209D-6800-4E7D-AD12-7B674071851D}"/>
                  </a:ext>
                </a:extLst>
              </p:cNvPr>
              <p:cNvSpPr>
                <a:spLocks noEditPoints="1"/>
              </p:cNvSpPr>
              <p:nvPr/>
            </p:nvSpPr>
            <p:spPr bwMode="auto">
              <a:xfrm>
                <a:off x="5596287" y="2985516"/>
                <a:ext cx="913244" cy="251594"/>
              </a:xfrm>
              <a:custGeom>
                <a:avLst/>
                <a:gdLst>
                  <a:gd name="T0" fmla="*/ 491 w 1280"/>
                  <a:gd name="T1" fmla="*/ 122 h 352"/>
                  <a:gd name="T2" fmla="*/ 481 w 1280"/>
                  <a:gd name="T3" fmla="*/ 52 h 352"/>
                  <a:gd name="T4" fmla="*/ 733 w 1280"/>
                  <a:gd name="T5" fmla="*/ 42 h 352"/>
                  <a:gd name="T6" fmla="*/ 743 w 1280"/>
                  <a:gd name="T7" fmla="*/ 112 h 352"/>
                  <a:gd name="T8" fmla="*/ 743 w 1280"/>
                  <a:gd name="T9" fmla="*/ 227 h 352"/>
                  <a:gd name="T10" fmla="*/ 733 w 1280"/>
                  <a:gd name="T11" fmla="*/ 157 h 352"/>
                  <a:gd name="T12" fmla="*/ 481 w 1280"/>
                  <a:gd name="T13" fmla="*/ 167 h 352"/>
                  <a:gd name="T14" fmla="*/ 491 w 1280"/>
                  <a:gd name="T15" fmla="*/ 237 h 352"/>
                  <a:gd name="T16" fmla="*/ 743 w 1280"/>
                  <a:gd name="T17" fmla="*/ 227 h 352"/>
                  <a:gd name="T18" fmla="*/ 743 w 1280"/>
                  <a:gd name="T19" fmla="*/ 282 h 352"/>
                  <a:gd name="T20" fmla="*/ 491 w 1280"/>
                  <a:gd name="T21" fmla="*/ 272 h 352"/>
                  <a:gd name="T22" fmla="*/ 481 w 1280"/>
                  <a:gd name="T23" fmla="*/ 342 h 352"/>
                  <a:gd name="T24" fmla="*/ 733 w 1280"/>
                  <a:gd name="T25" fmla="*/ 352 h 352"/>
                  <a:gd name="T26" fmla="*/ 261 w 1280"/>
                  <a:gd name="T27" fmla="*/ 112 h 352"/>
                  <a:gd name="T28" fmla="*/ 251 w 1280"/>
                  <a:gd name="T29" fmla="*/ 42 h 352"/>
                  <a:gd name="T30" fmla="*/ 0 w 1280"/>
                  <a:gd name="T31" fmla="*/ 52 h 352"/>
                  <a:gd name="T32" fmla="*/ 10 w 1280"/>
                  <a:gd name="T33" fmla="*/ 122 h 352"/>
                  <a:gd name="T34" fmla="*/ 261 w 1280"/>
                  <a:gd name="T35" fmla="*/ 112 h 352"/>
                  <a:gd name="T36" fmla="*/ 261 w 1280"/>
                  <a:gd name="T37" fmla="*/ 167 h 352"/>
                  <a:gd name="T38" fmla="*/ 10 w 1280"/>
                  <a:gd name="T39" fmla="*/ 157 h 352"/>
                  <a:gd name="T40" fmla="*/ 0 w 1280"/>
                  <a:gd name="T41" fmla="*/ 227 h 352"/>
                  <a:gd name="T42" fmla="*/ 251 w 1280"/>
                  <a:gd name="T43" fmla="*/ 237 h 352"/>
                  <a:gd name="T44" fmla="*/ 261 w 1280"/>
                  <a:gd name="T45" fmla="*/ 342 h 352"/>
                  <a:gd name="T46" fmla="*/ 251 w 1280"/>
                  <a:gd name="T47" fmla="*/ 272 h 352"/>
                  <a:gd name="T48" fmla="*/ 0 w 1280"/>
                  <a:gd name="T49" fmla="*/ 282 h 352"/>
                  <a:gd name="T50" fmla="*/ 10 w 1280"/>
                  <a:gd name="T51" fmla="*/ 352 h 352"/>
                  <a:gd name="T52" fmla="*/ 261 w 1280"/>
                  <a:gd name="T53" fmla="*/ 342 h 352"/>
                  <a:gd name="T54" fmla="*/ 1239 w 1280"/>
                  <a:gd name="T55" fmla="*/ 9 h 352"/>
                  <a:gd name="T56" fmla="*/ 988 w 1280"/>
                  <a:gd name="T57" fmla="*/ 35 h 352"/>
                  <a:gd name="T58" fmla="*/ 988 w 1280"/>
                  <a:gd name="T59" fmla="*/ 105 h 352"/>
                  <a:gd name="T60" fmla="*/ 1239 w 1280"/>
                  <a:gd name="T61" fmla="*/ 80 h 352"/>
                  <a:gd name="T62" fmla="*/ 1263 w 1280"/>
                  <a:gd name="T63" fmla="*/ 182 h 352"/>
                  <a:gd name="T64" fmla="*/ 1244 w 1280"/>
                  <a:gd name="T65" fmla="*/ 115 h 352"/>
                  <a:gd name="T66" fmla="*/ 996 w 1280"/>
                  <a:gd name="T67" fmla="*/ 160 h 352"/>
                  <a:gd name="T68" fmla="*/ 1016 w 1280"/>
                  <a:gd name="T69" fmla="*/ 227 h 352"/>
                  <a:gd name="T70" fmla="*/ 1263 w 1280"/>
                  <a:gd name="T71" fmla="*/ 182 h 352"/>
                  <a:gd name="T72" fmla="*/ 1271 w 1280"/>
                  <a:gd name="T73" fmla="*/ 237 h 352"/>
                  <a:gd name="T74" fmla="*/ 1021 w 1280"/>
                  <a:gd name="T75" fmla="*/ 263 h 352"/>
                  <a:gd name="T76" fmla="*/ 1021 w 1280"/>
                  <a:gd name="T77" fmla="*/ 333 h 352"/>
                  <a:gd name="T78" fmla="*/ 1271 w 1280"/>
                  <a:gd name="T79" fmla="*/ 30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0" h="352">
                    <a:moveTo>
                      <a:pt x="733" y="122"/>
                    </a:moveTo>
                    <a:cubicBezTo>
                      <a:pt x="491" y="122"/>
                      <a:pt x="491" y="122"/>
                      <a:pt x="491" y="122"/>
                    </a:cubicBezTo>
                    <a:cubicBezTo>
                      <a:pt x="486" y="122"/>
                      <a:pt x="481" y="117"/>
                      <a:pt x="481" y="112"/>
                    </a:cubicBezTo>
                    <a:cubicBezTo>
                      <a:pt x="481" y="52"/>
                      <a:pt x="481" y="52"/>
                      <a:pt x="481" y="52"/>
                    </a:cubicBezTo>
                    <a:cubicBezTo>
                      <a:pt x="481" y="47"/>
                      <a:pt x="486" y="42"/>
                      <a:pt x="491" y="42"/>
                    </a:cubicBezTo>
                    <a:cubicBezTo>
                      <a:pt x="733" y="42"/>
                      <a:pt x="733" y="42"/>
                      <a:pt x="733" y="42"/>
                    </a:cubicBezTo>
                    <a:cubicBezTo>
                      <a:pt x="738" y="42"/>
                      <a:pt x="743" y="47"/>
                      <a:pt x="743" y="52"/>
                    </a:cubicBezTo>
                    <a:cubicBezTo>
                      <a:pt x="743" y="112"/>
                      <a:pt x="743" y="112"/>
                      <a:pt x="743" y="112"/>
                    </a:cubicBezTo>
                    <a:cubicBezTo>
                      <a:pt x="743" y="117"/>
                      <a:pt x="738" y="122"/>
                      <a:pt x="733" y="122"/>
                    </a:cubicBezTo>
                    <a:close/>
                    <a:moveTo>
                      <a:pt x="743" y="227"/>
                    </a:moveTo>
                    <a:cubicBezTo>
                      <a:pt x="743" y="167"/>
                      <a:pt x="743" y="167"/>
                      <a:pt x="743" y="167"/>
                    </a:cubicBezTo>
                    <a:cubicBezTo>
                      <a:pt x="743" y="162"/>
                      <a:pt x="738" y="157"/>
                      <a:pt x="733" y="157"/>
                    </a:cubicBezTo>
                    <a:cubicBezTo>
                      <a:pt x="491" y="157"/>
                      <a:pt x="491" y="157"/>
                      <a:pt x="491" y="157"/>
                    </a:cubicBezTo>
                    <a:cubicBezTo>
                      <a:pt x="486" y="157"/>
                      <a:pt x="481" y="162"/>
                      <a:pt x="481" y="167"/>
                    </a:cubicBezTo>
                    <a:cubicBezTo>
                      <a:pt x="481" y="227"/>
                      <a:pt x="481" y="227"/>
                      <a:pt x="481" y="227"/>
                    </a:cubicBezTo>
                    <a:cubicBezTo>
                      <a:pt x="481" y="232"/>
                      <a:pt x="486" y="237"/>
                      <a:pt x="491" y="237"/>
                    </a:cubicBezTo>
                    <a:cubicBezTo>
                      <a:pt x="733" y="237"/>
                      <a:pt x="733" y="237"/>
                      <a:pt x="733" y="237"/>
                    </a:cubicBezTo>
                    <a:cubicBezTo>
                      <a:pt x="738" y="237"/>
                      <a:pt x="743" y="232"/>
                      <a:pt x="743" y="227"/>
                    </a:cubicBezTo>
                    <a:close/>
                    <a:moveTo>
                      <a:pt x="743" y="342"/>
                    </a:moveTo>
                    <a:cubicBezTo>
                      <a:pt x="743" y="282"/>
                      <a:pt x="743" y="282"/>
                      <a:pt x="743" y="282"/>
                    </a:cubicBezTo>
                    <a:cubicBezTo>
                      <a:pt x="743" y="277"/>
                      <a:pt x="738" y="272"/>
                      <a:pt x="733" y="272"/>
                    </a:cubicBezTo>
                    <a:cubicBezTo>
                      <a:pt x="491" y="272"/>
                      <a:pt x="491" y="272"/>
                      <a:pt x="491" y="272"/>
                    </a:cubicBezTo>
                    <a:cubicBezTo>
                      <a:pt x="486" y="272"/>
                      <a:pt x="481" y="277"/>
                      <a:pt x="481" y="282"/>
                    </a:cubicBezTo>
                    <a:cubicBezTo>
                      <a:pt x="481" y="342"/>
                      <a:pt x="481" y="342"/>
                      <a:pt x="481" y="342"/>
                    </a:cubicBezTo>
                    <a:cubicBezTo>
                      <a:pt x="481" y="347"/>
                      <a:pt x="486" y="352"/>
                      <a:pt x="491" y="352"/>
                    </a:cubicBezTo>
                    <a:cubicBezTo>
                      <a:pt x="733" y="352"/>
                      <a:pt x="733" y="352"/>
                      <a:pt x="733" y="352"/>
                    </a:cubicBezTo>
                    <a:cubicBezTo>
                      <a:pt x="738" y="352"/>
                      <a:pt x="743" y="347"/>
                      <a:pt x="743" y="342"/>
                    </a:cubicBezTo>
                    <a:close/>
                    <a:moveTo>
                      <a:pt x="261" y="112"/>
                    </a:moveTo>
                    <a:cubicBezTo>
                      <a:pt x="261" y="52"/>
                      <a:pt x="261" y="52"/>
                      <a:pt x="261" y="52"/>
                    </a:cubicBezTo>
                    <a:cubicBezTo>
                      <a:pt x="261" y="47"/>
                      <a:pt x="257" y="42"/>
                      <a:pt x="251" y="42"/>
                    </a:cubicBezTo>
                    <a:cubicBezTo>
                      <a:pt x="10" y="42"/>
                      <a:pt x="10" y="42"/>
                      <a:pt x="10" y="42"/>
                    </a:cubicBezTo>
                    <a:cubicBezTo>
                      <a:pt x="4" y="42"/>
                      <a:pt x="0" y="47"/>
                      <a:pt x="0" y="52"/>
                    </a:cubicBezTo>
                    <a:cubicBezTo>
                      <a:pt x="0" y="112"/>
                      <a:pt x="0" y="112"/>
                      <a:pt x="0" y="112"/>
                    </a:cubicBezTo>
                    <a:cubicBezTo>
                      <a:pt x="0" y="117"/>
                      <a:pt x="4" y="122"/>
                      <a:pt x="10" y="122"/>
                    </a:cubicBezTo>
                    <a:cubicBezTo>
                      <a:pt x="251" y="122"/>
                      <a:pt x="251" y="122"/>
                      <a:pt x="251" y="122"/>
                    </a:cubicBezTo>
                    <a:cubicBezTo>
                      <a:pt x="257" y="122"/>
                      <a:pt x="261" y="117"/>
                      <a:pt x="261" y="112"/>
                    </a:cubicBezTo>
                    <a:close/>
                    <a:moveTo>
                      <a:pt x="261" y="227"/>
                    </a:moveTo>
                    <a:cubicBezTo>
                      <a:pt x="261" y="167"/>
                      <a:pt x="261" y="167"/>
                      <a:pt x="261" y="167"/>
                    </a:cubicBezTo>
                    <a:cubicBezTo>
                      <a:pt x="261" y="162"/>
                      <a:pt x="257" y="157"/>
                      <a:pt x="251" y="157"/>
                    </a:cubicBezTo>
                    <a:cubicBezTo>
                      <a:pt x="10" y="157"/>
                      <a:pt x="10" y="157"/>
                      <a:pt x="10" y="157"/>
                    </a:cubicBezTo>
                    <a:cubicBezTo>
                      <a:pt x="4" y="157"/>
                      <a:pt x="0" y="162"/>
                      <a:pt x="0" y="167"/>
                    </a:cubicBezTo>
                    <a:cubicBezTo>
                      <a:pt x="0" y="227"/>
                      <a:pt x="0" y="227"/>
                      <a:pt x="0" y="227"/>
                    </a:cubicBezTo>
                    <a:cubicBezTo>
                      <a:pt x="0" y="232"/>
                      <a:pt x="4" y="237"/>
                      <a:pt x="10" y="237"/>
                    </a:cubicBezTo>
                    <a:cubicBezTo>
                      <a:pt x="251" y="237"/>
                      <a:pt x="251" y="237"/>
                      <a:pt x="251" y="237"/>
                    </a:cubicBezTo>
                    <a:cubicBezTo>
                      <a:pt x="257" y="237"/>
                      <a:pt x="261" y="232"/>
                      <a:pt x="261" y="227"/>
                    </a:cubicBezTo>
                    <a:close/>
                    <a:moveTo>
                      <a:pt x="261" y="342"/>
                    </a:moveTo>
                    <a:cubicBezTo>
                      <a:pt x="261" y="282"/>
                      <a:pt x="261" y="282"/>
                      <a:pt x="261" y="282"/>
                    </a:cubicBezTo>
                    <a:cubicBezTo>
                      <a:pt x="261" y="277"/>
                      <a:pt x="257" y="272"/>
                      <a:pt x="251" y="272"/>
                    </a:cubicBezTo>
                    <a:cubicBezTo>
                      <a:pt x="10" y="272"/>
                      <a:pt x="10" y="272"/>
                      <a:pt x="10" y="272"/>
                    </a:cubicBezTo>
                    <a:cubicBezTo>
                      <a:pt x="4" y="272"/>
                      <a:pt x="0" y="277"/>
                      <a:pt x="0" y="282"/>
                    </a:cubicBezTo>
                    <a:cubicBezTo>
                      <a:pt x="0" y="342"/>
                      <a:pt x="0" y="342"/>
                      <a:pt x="0" y="342"/>
                    </a:cubicBezTo>
                    <a:cubicBezTo>
                      <a:pt x="0" y="347"/>
                      <a:pt x="4" y="352"/>
                      <a:pt x="10" y="352"/>
                    </a:cubicBezTo>
                    <a:cubicBezTo>
                      <a:pt x="251" y="352"/>
                      <a:pt x="251" y="352"/>
                      <a:pt x="251" y="352"/>
                    </a:cubicBezTo>
                    <a:cubicBezTo>
                      <a:pt x="257" y="352"/>
                      <a:pt x="261" y="347"/>
                      <a:pt x="261" y="342"/>
                    </a:cubicBezTo>
                    <a:close/>
                    <a:moveTo>
                      <a:pt x="1247" y="68"/>
                    </a:moveTo>
                    <a:cubicBezTo>
                      <a:pt x="1239" y="9"/>
                      <a:pt x="1239" y="9"/>
                      <a:pt x="1239" y="9"/>
                    </a:cubicBezTo>
                    <a:cubicBezTo>
                      <a:pt x="1238" y="4"/>
                      <a:pt x="1233" y="0"/>
                      <a:pt x="1228" y="1"/>
                    </a:cubicBezTo>
                    <a:cubicBezTo>
                      <a:pt x="988" y="35"/>
                      <a:pt x="988" y="35"/>
                      <a:pt x="988" y="35"/>
                    </a:cubicBezTo>
                    <a:cubicBezTo>
                      <a:pt x="983" y="36"/>
                      <a:pt x="979" y="41"/>
                      <a:pt x="980" y="46"/>
                    </a:cubicBezTo>
                    <a:cubicBezTo>
                      <a:pt x="988" y="105"/>
                      <a:pt x="988" y="105"/>
                      <a:pt x="988" y="105"/>
                    </a:cubicBezTo>
                    <a:cubicBezTo>
                      <a:pt x="989" y="111"/>
                      <a:pt x="994" y="114"/>
                      <a:pt x="1000" y="114"/>
                    </a:cubicBezTo>
                    <a:cubicBezTo>
                      <a:pt x="1239" y="80"/>
                      <a:pt x="1239" y="80"/>
                      <a:pt x="1239" y="80"/>
                    </a:cubicBezTo>
                    <a:cubicBezTo>
                      <a:pt x="1244" y="79"/>
                      <a:pt x="1248" y="74"/>
                      <a:pt x="1247" y="68"/>
                    </a:cubicBezTo>
                    <a:close/>
                    <a:moveTo>
                      <a:pt x="1263" y="182"/>
                    </a:moveTo>
                    <a:cubicBezTo>
                      <a:pt x="1255" y="123"/>
                      <a:pt x="1255" y="123"/>
                      <a:pt x="1255" y="123"/>
                    </a:cubicBezTo>
                    <a:cubicBezTo>
                      <a:pt x="1254" y="118"/>
                      <a:pt x="1249" y="114"/>
                      <a:pt x="1244" y="115"/>
                    </a:cubicBezTo>
                    <a:cubicBezTo>
                      <a:pt x="1005" y="149"/>
                      <a:pt x="1005" y="149"/>
                      <a:pt x="1005" y="149"/>
                    </a:cubicBezTo>
                    <a:cubicBezTo>
                      <a:pt x="999" y="150"/>
                      <a:pt x="995" y="155"/>
                      <a:pt x="996" y="160"/>
                    </a:cubicBezTo>
                    <a:cubicBezTo>
                      <a:pt x="1004" y="219"/>
                      <a:pt x="1004" y="219"/>
                      <a:pt x="1004" y="219"/>
                    </a:cubicBezTo>
                    <a:cubicBezTo>
                      <a:pt x="1005" y="224"/>
                      <a:pt x="1010" y="228"/>
                      <a:pt x="1016" y="227"/>
                    </a:cubicBezTo>
                    <a:cubicBezTo>
                      <a:pt x="1255" y="193"/>
                      <a:pt x="1255" y="193"/>
                      <a:pt x="1255" y="193"/>
                    </a:cubicBezTo>
                    <a:cubicBezTo>
                      <a:pt x="1260" y="193"/>
                      <a:pt x="1264" y="188"/>
                      <a:pt x="1263" y="182"/>
                    </a:cubicBezTo>
                    <a:close/>
                    <a:moveTo>
                      <a:pt x="1280" y="296"/>
                    </a:moveTo>
                    <a:cubicBezTo>
                      <a:pt x="1271" y="237"/>
                      <a:pt x="1271" y="237"/>
                      <a:pt x="1271" y="237"/>
                    </a:cubicBezTo>
                    <a:cubicBezTo>
                      <a:pt x="1270" y="232"/>
                      <a:pt x="1265" y="228"/>
                      <a:pt x="1260" y="229"/>
                    </a:cubicBezTo>
                    <a:cubicBezTo>
                      <a:pt x="1021" y="263"/>
                      <a:pt x="1021" y="263"/>
                      <a:pt x="1021" y="263"/>
                    </a:cubicBezTo>
                    <a:cubicBezTo>
                      <a:pt x="1015" y="263"/>
                      <a:pt x="1012" y="269"/>
                      <a:pt x="1012" y="274"/>
                    </a:cubicBezTo>
                    <a:cubicBezTo>
                      <a:pt x="1021" y="333"/>
                      <a:pt x="1021" y="333"/>
                      <a:pt x="1021" y="333"/>
                    </a:cubicBezTo>
                    <a:cubicBezTo>
                      <a:pt x="1021" y="338"/>
                      <a:pt x="1027" y="342"/>
                      <a:pt x="1032" y="341"/>
                    </a:cubicBezTo>
                    <a:cubicBezTo>
                      <a:pt x="1271" y="307"/>
                      <a:pt x="1271" y="307"/>
                      <a:pt x="1271" y="307"/>
                    </a:cubicBezTo>
                    <a:cubicBezTo>
                      <a:pt x="1277" y="307"/>
                      <a:pt x="1280" y="301"/>
                      <a:pt x="1280" y="29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11">
                <a:extLst>
                  <a:ext uri="{FF2B5EF4-FFF2-40B4-BE49-F238E27FC236}">
                    <a16:creationId xmlns:a16="http://schemas.microsoft.com/office/drawing/2014/main" id="{028791EF-9AB6-4718-AA80-09B79C91A837}"/>
                  </a:ext>
                </a:extLst>
              </p:cNvPr>
              <p:cNvSpPr>
                <a:spLocks noEditPoints="1"/>
              </p:cNvSpPr>
              <p:nvPr/>
            </p:nvSpPr>
            <p:spPr bwMode="auto">
              <a:xfrm>
                <a:off x="5535126" y="2847904"/>
                <a:ext cx="1138428" cy="1130089"/>
              </a:xfrm>
              <a:custGeom>
                <a:avLst/>
                <a:gdLst>
                  <a:gd name="T0" fmla="*/ 96 w 1594"/>
                  <a:gd name="T1" fmla="*/ 1341 h 1583"/>
                  <a:gd name="T2" fmla="*/ 333 w 1594"/>
                  <a:gd name="T3" fmla="*/ 1341 h 1583"/>
                  <a:gd name="T4" fmla="*/ 215 w 1594"/>
                  <a:gd name="T5" fmla="*/ 1266 h 1583"/>
                  <a:gd name="T6" fmla="*/ 215 w 1594"/>
                  <a:gd name="T7" fmla="*/ 1415 h 1583"/>
                  <a:gd name="T8" fmla="*/ 215 w 1594"/>
                  <a:gd name="T9" fmla="*/ 1266 h 1583"/>
                  <a:gd name="T10" fmla="*/ 575 w 1594"/>
                  <a:gd name="T11" fmla="*/ 1353 h 1583"/>
                  <a:gd name="T12" fmla="*/ 812 w 1594"/>
                  <a:gd name="T13" fmla="*/ 1353 h 1583"/>
                  <a:gd name="T14" fmla="*/ 693 w 1594"/>
                  <a:gd name="T15" fmla="*/ 1278 h 1583"/>
                  <a:gd name="T16" fmla="*/ 693 w 1594"/>
                  <a:gd name="T17" fmla="*/ 1427 h 1583"/>
                  <a:gd name="T18" fmla="*/ 693 w 1594"/>
                  <a:gd name="T19" fmla="*/ 1278 h 1583"/>
                  <a:gd name="T20" fmla="*/ 1235 w 1594"/>
                  <a:gd name="T21" fmla="*/ 1333 h 1583"/>
                  <a:gd name="T22" fmla="*/ 1472 w 1594"/>
                  <a:gd name="T23" fmla="*/ 1333 h 1583"/>
                  <a:gd name="T24" fmla="*/ 1353 w 1594"/>
                  <a:gd name="T25" fmla="*/ 1258 h 1583"/>
                  <a:gd name="T26" fmla="*/ 1353 w 1594"/>
                  <a:gd name="T27" fmla="*/ 1407 h 1583"/>
                  <a:gd name="T28" fmla="*/ 1353 w 1594"/>
                  <a:gd name="T29" fmla="*/ 1258 h 1583"/>
                  <a:gd name="T30" fmla="*/ 32 w 1594"/>
                  <a:gd name="T31" fmla="*/ 1583 h 1583"/>
                  <a:gd name="T32" fmla="*/ 0 w 1594"/>
                  <a:gd name="T33" fmla="*/ 71 h 1583"/>
                  <a:gd name="T34" fmla="*/ 397 w 1594"/>
                  <a:gd name="T35" fmla="*/ 39 h 1583"/>
                  <a:gd name="T36" fmla="*/ 429 w 1594"/>
                  <a:gd name="T37" fmla="*/ 1551 h 1583"/>
                  <a:gd name="T38" fmla="*/ 44 w 1594"/>
                  <a:gd name="T39" fmla="*/ 1539 h 1583"/>
                  <a:gd name="T40" fmla="*/ 385 w 1594"/>
                  <a:gd name="T41" fmla="*/ 83 h 1583"/>
                  <a:gd name="T42" fmla="*/ 44 w 1594"/>
                  <a:gd name="T43" fmla="*/ 1539 h 1583"/>
                  <a:gd name="T44" fmla="*/ 511 w 1594"/>
                  <a:gd name="T45" fmla="*/ 1583 h 1583"/>
                  <a:gd name="T46" fmla="*/ 479 w 1594"/>
                  <a:gd name="T47" fmla="*/ 71 h 1583"/>
                  <a:gd name="T48" fmla="*/ 876 w 1594"/>
                  <a:gd name="T49" fmla="*/ 39 h 1583"/>
                  <a:gd name="T50" fmla="*/ 908 w 1594"/>
                  <a:gd name="T51" fmla="*/ 1551 h 1583"/>
                  <a:gd name="T52" fmla="*/ 523 w 1594"/>
                  <a:gd name="T53" fmla="*/ 1539 h 1583"/>
                  <a:gd name="T54" fmla="*/ 864 w 1594"/>
                  <a:gd name="T55" fmla="*/ 83 h 1583"/>
                  <a:gd name="T56" fmla="*/ 523 w 1594"/>
                  <a:gd name="T57" fmla="*/ 1539 h 1583"/>
                  <a:gd name="T58" fmla="*/ 1166 w 1594"/>
                  <a:gd name="T59" fmla="*/ 1556 h 1583"/>
                  <a:gd name="T60" fmla="*/ 985 w 1594"/>
                  <a:gd name="T61" fmla="*/ 54 h 1583"/>
                  <a:gd name="T62" fmla="*/ 1383 w 1594"/>
                  <a:gd name="T63" fmla="*/ 30 h 1583"/>
                  <a:gd name="T64" fmla="*/ 1564 w 1594"/>
                  <a:gd name="T65" fmla="*/ 1531 h 1583"/>
                  <a:gd name="T66" fmla="*/ 1564 w 1594"/>
                  <a:gd name="T67" fmla="*/ 1531 h 1583"/>
                  <a:gd name="T68" fmla="*/ 1198 w 1594"/>
                  <a:gd name="T69" fmla="*/ 1583 h 1583"/>
                  <a:gd name="T70" fmla="*/ 1208 w 1594"/>
                  <a:gd name="T71" fmla="*/ 1538 h 1583"/>
                  <a:gd name="T72" fmla="*/ 1341 w 1594"/>
                  <a:gd name="T73" fmla="*/ 48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4" h="1583">
                    <a:moveTo>
                      <a:pt x="215" y="1459"/>
                    </a:moveTo>
                    <a:cubicBezTo>
                      <a:pt x="149" y="1459"/>
                      <a:pt x="96" y="1406"/>
                      <a:pt x="96" y="1341"/>
                    </a:cubicBezTo>
                    <a:cubicBezTo>
                      <a:pt x="96" y="1276"/>
                      <a:pt x="149" y="1222"/>
                      <a:pt x="215" y="1222"/>
                    </a:cubicBezTo>
                    <a:cubicBezTo>
                      <a:pt x="280" y="1222"/>
                      <a:pt x="333" y="1276"/>
                      <a:pt x="333" y="1341"/>
                    </a:cubicBezTo>
                    <a:cubicBezTo>
                      <a:pt x="333" y="1406"/>
                      <a:pt x="280" y="1459"/>
                      <a:pt x="215" y="1459"/>
                    </a:cubicBezTo>
                    <a:close/>
                    <a:moveTo>
                      <a:pt x="215" y="1266"/>
                    </a:moveTo>
                    <a:cubicBezTo>
                      <a:pt x="174" y="1266"/>
                      <a:pt x="140" y="1300"/>
                      <a:pt x="140" y="1341"/>
                    </a:cubicBezTo>
                    <a:cubicBezTo>
                      <a:pt x="140" y="1382"/>
                      <a:pt x="174" y="1415"/>
                      <a:pt x="215" y="1415"/>
                    </a:cubicBezTo>
                    <a:cubicBezTo>
                      <a:pt x="256" y="1415"/>
                      <a:pt x="289" y="1382"/>
                      <a:pt x="289" y="1341"/>
                    </a:cubicBezTo>
                    <a:cubicBezTo>
                      <a:pt x="289" y="1300"/>
                      <a:pt x="256" y="1266"/>
                      <a:pt x="215" y="1266"/>
                    </a:cubicBezTo>
                    <a:close/>
                    <a:moveTo>
                      <a:pt x="693" y="1471"/>
                    </a:moveTo>
                    <a:cubicBezTo>
                      <a:pt x="628" y="1471"/>
                      <a:pt x="575" y="1418"/>
                      <a:pt x="575" y="1353"/>
                    </a:cubicBezTo>
                    <a:cubicBezTo>
                      <a:pt x="575" y="1288"/>
                      <a:pt x="628" y="1234"/>
                      <a:pt x="693" y="1234"/>
                    </a:cubicBezTo>
                    <a:cubicBezTo>
                      <a:pt x="759" y="1234"/>
                      <a:pt x="812" y="1288"/>
                      <a:pt x="812" y="1353"/>
                    </a:cubicBezTo>
                    <a:cubicBezTo>
                      <a:pt x="812" y="1418"/>
                      <a:pt x="759" y="1471"/>
                      <a:pt x="693" y="1471"/>
                    </a:cubicBezTo>
                    <a:close/>
                    <a:moveTo>
                      <a:pt x="693" y="1278"/>
                    </a:moveTo>
                    <a:cubicBezTo>
                      <a:pt x="652" y="1278"/>
                      <a:pt x="619" y="1312"/>
                      <a:pt x="619" y="1353"/>
                    </a:cubicBezTo>
                    <a:cubicBezTo>
                      <a:pt x="619" y="1394"/>
                      <a:pt x="652" y="1427"/>
                      <a:pt x="693" y="1427"/>
                    </a:cubicBezTo>
                    <a:cubicBezTo>
                      <a:pt x="735" y="1427"/>
                      <a:pt x="768" y="1394"/>
                      <a:pt x="768" y="1353"/>
                    </a:cubicBezTo>
                    <a:cubicBezTo>
                      <a:pt x="768" y="1312"/>
                      <a:pt x="735" y="1278"/>
                      <a:pt x="693" y="1278"/>
                    </a:cubicBezTo>
                    <a:close/>
                    <a:moveTo>
                      <a:pt x="1353" y="1451"/>
                    </a:moveTo>
                    <a:cubicBezTo>
                      <a:pt x="1288" y="1451"/>
                      <a:pt x="1235" y="1398"/>
                      <a:pt x="1235" y="1333"/>
                    </a:cubicBezTo>
                    <a:cubicBezTo>
                      <a:pt x="1235" y="1268"/>
                      <a:pt x="1288" y="1214"/>
                      <a:pt x="1353" y="1214"/>
                    </a:cubicBezTo>
                    <a:cubicBezTo>
                      <a:pt x="1419" y="1214"/>
                      <a:pt x="1472" y="1268"/>
                      <a:pt x="1472" y="1333"/>
                    </a:cubicBezTo>
                    <a:cubicBezTo>
                      <a:pt x="1472" y="1398"/>
                      <a:pt x="1419" y="1451"/>
                      <a:pt x="1353" y="1451"/>
                    </a:cubicBezTo>
                    <a:close/>
                    <a:moveTo>
                      <a:pt x="1353" y="1258"/>
                    </a:moveTo>
                    <a:cubicBezTo>
                      <a:pt x="1312" y="1258"/>
                      <a:pt x="1279" y="1292"/>
                      <a:pt x="1279" y="1333"/>
                    </a:cubicBezTo>
                    <a:cubicBezTo>
                      <a:pt x="1279" y="1374"/>
                      <a:pt x="1312" y="1407"/>
                      <a:pt x="1353" y="1407"/>
                    </a:cubicBezTo>
                    <a:cubicBezTo>
                      <a:pt x="1395" y="1407"/>
                      <a:pt x="1428" y="1374"/>
                      <a:pt x="1428" y="1333"/>
                    </a:cubicBezTo>
                    <a:cubicBezTo>
                      <a:pt x="1428" y="1292"/>
                      <a:pt x="1395" y="1258"/>
                      <a:pt x="1353" y="1258"/>
                    </a:cubicBezTo>
                    <a:close/>
                    <a:moveTo>
                      <a:pt x="397" y="1583"/>
                    </a:moveTo>
                    <a:cubicBezTo>
                      <a:pt x="32" y="1583"/>
                      <a:pt x="32" y="1583"/>
                      <a:pt x="32" y="1583"/>
                    </a:cubicBezTo>
                    <a:cubicBezTo>
                      <a:pt x="14" y="1583"/>
                      <a:pt x="0" y="1569"/>
                      <a:pt x="0" y="1551"/>
                    </a:cubicBezTo>
                    <a:cubicBezTo>
                      <a:pt x="0" y="71"/>
                      <a:pt x="0" y="71"/>
                      <a:pt x="0" y="71"/>
                    </a:cubicBezTo>
                    <a:cubicBezTo>
                      <a:pt x="0" y="54"/>
                      <a:pt x="14" y="39"/>
                      <a:pt x="32" y="39"/>
                    </a:cubicBezTo>
                    <a:cubicBezTo>
                      <a:pt x="397" y="39"/>
                      <a:pt x="397" y="39"/>
                      <a:pt x="397" y="39"/>
                    </a:cubicBezTo>
                    <a:cubicBezTo>
                      <a:pt x="415" y="39"/>
                      <a:pt x="429" y="54"/>
                      <a:pt x="429" y="71"/>
                    </a:cubicBezTo>
                    <a:cubicBezTo>
                      <a:pt x="429" y="1551"/>
                      <a:pt x="429" y="1551"/>
                      <a:pt x="429" y="1551"/>
                    </a:cubicBezTo>
                    <a:cubicBezTo>
                      <a:pt x="429" y="1569"/>
                      <a:pt x="415" y="1583"/>
                      <a:pt x="397" y="1583"/>
                    </a:cubicBezTo>
                    <a:close/>
                    <a:moveTo>
                      <a:pt x="44" y="1539"/>
                    </a:moveTo>
                    <a:cubicBezTo>
                      <a:pt x="385" y="1539"/>
                      <a:pt x="385" y="1539"/>
                      <a:pt x="385" y="1539"/>
                    </a:cubicBezTo>
                    <a:cubicBezTo>
                      <a:pt x="385" y="83"/>
                      <a:pt x="385" y="83"/>
                      <a:pt x="385" y="83"/>
                    </a:cubicBezTo>
                    <a:cubicBezTo>
                      <a:pt x="44" y="83"/>
                      <a:pt x="44" y="83"/>
                      <a:pt x="44" y="83"/>
                    </a:cubicBezTo>
                    <a:lnTo>
                      <a:pt x="44" y="1539"/>
                    </a:lnTo>
                    <a:close/>
                    <a:moveTo>
                      <a:pt x="876" y="1583"/>
                    </a:moveTo>
                    <a:cubicBezTo>
                      <a:pt x="511" y="1583"/>
                      <a:pt x="511" y="1583"/>
                      <a:pt x="511" y="1583"/>
                    </a:cubicBezTo>
                    <a:cubicBezTo>
                      <a:pt x="493" y="1583"/>
                      <a:pt x="479" y="1569"/>
                      <a:pt x="479" y="1551"/>
                    </a:cubicBezTo>
                    <a:cubicBezTo>
                      <a:pt x="479" y="71"/>
                      <a:pt x="479" y="71"/>
                      <a:pt x="479" y="71"/>
                    </a:cubicBezTo>
                    <a:cubicBezTo>
                      <a:pt x="479" y="54"/>
                      <a:pt x="493" y="39"/>
                      <a:pt x="511" y="39"/>
                    </a:cubicBezTo>
                    <a:cubicBezTo>
                      <a:pt x="876" y="39"/>
                      <a:pt x="876" y="39"/>
                      <a:pt x="876" y="39"/>
                    </a:cubicBezTo>
                    <a:cubicBezTo>
                      <a:pt x="894" y="39"/>
                      <a:pt x="908" y="54"/>
                      <a:pt x="908" y="71"/>
                    </a:cubicBezTo>
                    <a:cubicBezTo>
                      <a:pt x="908" y="1551"/>
                      <a:pt x="908" y="1551"/>
                      <a:pt x="908" y="1551"/>
                    </a:cubicBezTo>
                    <a:cubicBezTo>
                      <a:pt x="908" y="1569"/>
                      <a:pt x="894" y="1583"/>
                      <a:pt x="876" y="1583"/>
                    </a:cubicBezTo>
                    <a:close/>
                    <a:moveTo>
                      <a:pt x="523" y="1539"/>
                    </a:moveTo>
                    <a:cubicBezTo>
                      <a:pt x="864" y="1539"/>
                      <a:pt x="864" y="1539"/>
                      <a:pt x="864" y="1539"/>
                    </a:cubicBezTo>
                    <a:cubicBezTo>
                      <a:pt x="864" y="83"/>
                      <a:pt x="864" y="83"/>
                      <a:pt x="864" y="83"/>
                    </a:cubicBezTo>
                    <a:cubicBezTo>
                      <a:pt x="523" y="83"/>
                      <a:pt x="523" y="83"/>
                      <a:pt x="523" y="83"/>
                    </a:cubicBezTo>
                    <a:lnTo>
                      <a:pt x="523" y="1539"/>
                    </a:lnTo>
                    <a:close/>
                    <a:moveTo>
                      <a:pt x="1198" y="1583"/>
                    </a:moveTo>
                    <a:cubicBezTo>
                      <a:pt x="1182" y="1583"/>
                      <a:pt x="1169" y="1572"/>
                      <a:pt x="1166" y="1556"/>
                    </a:cubicBezTo>
                    <a:cubicBezTo>
                      <a:pt x="958" y="91"/>
                      <a:pt x="958" y="91"/>
                      <a:pt x="958" y="91"/>
                    </a:cubicBezTo>
                    <a:cubicBezTo>
                      <a:pt x="956" y="73"/>
                      <a:pt x="968" y="57"/>
                      <a:pt x="985" y="54"/>
                    </a:cubicBezTo>
                    <a:cubicBezTo>
                      <a:pt x="1347" y="3"/>
                      <a:pt x="1347" y="3"/>
                      <a:pt x="1347" y="3"/>
                    </a:cubicBezTo>
                    <a:cubicBezTo>
                      <a:pt x="1364" y="0"/>
                      <a:pt x="1381" y="13"/>
                      <a:pt x="1383" y="30"/>
                    </a:cubicBezTo>
                    <a:cubicBezTo>
                      <a:pt x="1591" y="1495"/>
                      <a:pt x="1591" y="1495"/>
                      <a:pt x="1591" y="1495"/>
                    </a:cubicBezTo>
                    <a:cubicBezTo>
                      <a:pt x="1594" y="1513"/>
                      <a:pt x="1582" y="1529"/>
                      <a:pt x="1564" y="1531"/>
                    </a:cubicBezTo>
                    <a:cubicBezTo>
                      <a:pt x="1564" y="1531"/>
                      <a:pt x="1564" y="1531"/>
                      <a:pt x="1564" y="1531"/>
                    </a:cubicBezTo>
                    <a:cubicBezTo>
                      <a:pt x="1564" y="1531"/>
                      <a:pt x="1564" y="1531"/>
                      <a:pt x="1564" y="1531"/>
                    </a:cubicBezTo>
                    <a:cubicBezTo>
                      <a:pt x="1203" y="1583"/>
                      <a:pt x="1203" y="1583"/>
                      <a:pt x="1203" y="1583"/>
                    </a:cubicBezTo>
                    <a:cubicBezTo>
                      <a:pt x="1201" y="1583"/>
                      <a:pt x="1200" y="1583"/>
                      <a:pt x="1198" y="1583"/>
                    </a:cubicBezTo>
                    <a:close/>
                    <a:moveTo>
                      <a:pt x="1003" y="96"/>
                    </a:moveTo>
                    <a:cubicBezTo>
                      <a:pt x="1208" y="1538"/>
                      <a:pt x="1208" y="1538"/>
                      <a:pt x="1208" y="1538"/>
                    </a:cubicBezTo>
                    <a:cubicBezTo>
                      <a:pt x="1546" y="1490"/>
                      <a:pt x="1546" y="1490"/>
                      <a:pt x="1546" y="1490"/>
                    </a:cubicBezTo>
                    <a:cubicBezTo>
                      <a:pt x="1341" y="48"/>
                      <a:pt x="1341" y="48"/>
                      <a:pt x="1341" y="48"/>
                    </a:cubicBezTo>
                    <a:lnTo>
                      <a:pt x="1003" y="9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 name="Group 5">
            <a:extLst>
              <a:ext uri="{FF2B5EF4-FFF2-40B4-BE49-F238E27FC236}">
                <a16:creationId xmlns:a16="http://schemas.microsoft.com/office/drawing/2014/main" id="{2A8D7D83-004A-42D3-B423-D575C27CE781}"/>
              </a:ext>
            </a:extLst>
          </p:cNvPr>
          <p:cNvGrpSpPr/>
          <p:nvPr/>
        </p:nvGrpSpPr>
        <p:grpSpPr>
          <a:xfrm>
            <a:off x="9090123" y="1890809"/>
            <a:ext cx="1371600" cy="1371600"/>
            <a:chOff x="8769147" y="2080800"/>
            <a:chExt cx="1371600" cy="1371600"/>
          </a:xfrm>
        </p:grpSpPr>
        <p:sp>
          <p:nvSpPr>
            <p:cNvPr id="57" name="Oval 56"/>
            <p:cNvSpPr/>
            <p:nvPr/>
          </p:nvSpPr>
          <p:spPr>
            <a:xfrm>
              <a:off x="8769147" y="2080800"/>
              <a:ext cx="1371600" cy="1371600"/>
            </a:xfrm>
            <a:prstGeom prst="ellipse">
              <a:avLst/>
            </a:prstGeom>
            <a:solidFill>
              <a:srgbClr val="FFFFFF"/>
            </a:solidFill>
            <a:ln w="762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40" name="bcgIcons_Digital">
              <a:extLst>
                <a:ext uri="{FF2B5EF4-FFF2-40B4-BE49-F238E27FC236}">
                  <a16:creationId xmlns:a16="http://schemas.microsoft.com/office/drawing/2014/main" id="{4B5A5E07-C920-40DC-8A3D-AE859E78B054}"/>
                </a:ext>
              </a:extLst>
            </p:cNvPr>
            <p:cNvGrpSpPr>
              <a:grpSpLocks noChangeAspect="1"/>
            </p:cNvGrpSpPr>
            <p:nvPr/>
          </p:nvGrpSpPr>
          <p:grpSpPr bwMode="auto">
            <a:xfrm>
              <a:off x="9013805" y="2308257"/>
              <a:ext cx="913555" cy="914400"/>
              <a:chOff x="1682" y="0"/>
              <a:chExt cx="4316" cy="4320"/>
            </a:xfrm>
          </p:grpSpPr>
          <p:sp>
            <p:nvSpPr>
              <p:cNvPr id="41" name="AutoShape 8">
                <a:extLst>
                  <a:ext uri="{FF2B5EF4-FFF2-40B4-BE49-F238E27FC236}">
                    <a16:creationId xmlns:a16="http://schemas.microsoft.com/office/drawing/2014/main" id="{229B7F24-5273-4387-A2EA-0FCC816AEBF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0">
                <a:extLst>
                  <a:ext uri="{FF2B5EF4-FFF2-40B4-BE49-F238E27FC236}">
                    <a16:creationId xmlns:a16="http://schemas.microsoft.com/office/drawing/2014/main" id="{18DFA99C-1BAC-4C06-B8AF-70D620B0841E}"/>
                  </a:ext>
                </a:extLst>
              </p:cNvPr>
              <p:cNvSpPr>
                <a:spLocks noEditPoints="1"/>
              </p:cNvSpPr>
              <p:nvPr/>
            </p:nvSpPr>
            <p:spPr bwMode="auto">
              <a:xfrm>
                <a:off x="2727" y="919"/>
                <a:ext cx="2797" cy="2512"/>
              </a:xfrm>
              <a:custGeom>
                <a:avLst/>
                <a:gdLst>
                  <a:gd name="T0" fmla="*/ 263 w 1493"/>
                  <a:gd name="T1" fmla="*/ 1282 h 1340"/>
                  <a:gd name="T2" fmla="*/ 379 w 1493"/>
                  <a:gd name="T3" fmla="*/ 1282 h 1340"/>
                  <a:gd name="T4" fmla="*/ 469 w 1493"/>
                  <a:gd name="T5" fmla="*/ 22 h 1340"/>
                  <a:gd name="T6" fmla="*/ 195 w 1493"/>
                  <a:gd name="T7" fmla="*/ 0 h 1340"/>
                  <a:gd name="T8" fmla="*/ 195 w 1493"/>
                  <a:gd name="T9" fmla="*/ 44 h 1340"/>
                  <a:gd name="T10" fmla="*/ 469 w 1493"/>
                  <a:gd name="T11" fmla="*/ 22 h 1340"/>
                  <a:gd name="T12" fmla="*/ 390 w 1493"/>
                  <a:gd name="T13" fmla="*/ 564 h 1340"/>
                  <a:gd name="T14" fmla="*/ 368 w 1493"/>
                  <a:gd name="T15" fmla="*/ 701 h 1340"/>
                  <a:gd name="T16" fmla="*/ 504 w 1493"/>
                  <a:gd name="T17" fmla="*/ 723 h 1340"/>
                  <a:gd name="T18" fmla="*/ 526 w 1493"/>
                  <a:gd name="T19" fmla="*/ 586 h 1340"/>
                  <a:gd name="T20" fmla="*/ 758 w 1493"/>
                  <a:gd name="T21" fmla="*/ 347 h 1340"/>
                  <a:gd name="T22" fmla="*/ 578 w 1493"/>
                  <a:gd name="T23" fmla="*/ 369 h 1340"/>
                  <a:gd name="T24" fmla="*/ 600 w 1493"/>
                  <a:gd name="T25" fmla="*/ 549 h 1340"/>
                  <a:gd name="T26" fmla="*/ 780 w 1493"/>
                  <a:gd name="T27" fmla="*/ 527 h 1340"/>
                  <a:gd name="T28" fmla="*/ 758 w 1493"/>
                  <a:gd name="T29" fmla="*/ 347 h 1340"/>
                  <a:gd name="T30" fmla="*/ 570 w 1493"/>
                  <a:gd name="T31" fmla="*/ 586 h 1340"/>
                  <a:gd name="T32" fmla="*/ 570 w 1493"/>
                  <a:gd name="T33" fmla="*/ 701 h 1340"/>
                  <a:gd name="T34" fmla="*/ 390 w 1493"/>
                  <a:gd name="T35" fmla="*/ 767 h 1340"/>
                  <a:gd name="T36" fmla="*/ 324 w 1493"/>
                  <a:gd name="T37" fmla="*/ 586 h 1340"/>
                  <a:gd name="T38" fmla="*/ 504 w 1493"/>
                  <a:gd name="T39" fmla="*/ 520 h 1340"/>
                  <a:gd name="T40" fmla="*/ 534 w 1493"/>
                  <a:gd name="T41" fmla="*/ 527 h 1340"/>
                  <a:gd name="T42" fmla="*/ 600 w 1493"/>
                  <a:gd name="T43" fmla="*/ 303 h 1340"/>
                  <a:gd name="T44" fmla="*/ 638 w 1493"/>
                  <a:gd name="T45" fmla="*/ 115 h 1340"/>
                  <a:gd name="T46" fmla="*/ 10 w 1493"/>
                  <a:gd name="T47" fmla="*/ 105 h 1340"/>
                  <a:gd name="T48" fmla="*/ 0 w 1493"/>
                  <a:gd name="T49" fmla="*/ 1092 h 1340"/>
                  <a:gd name="T50" fmla="*/ 628 w 1493"/>
                  <a:gd name="T51" fmla="*/ 1102 h 1340"/>
                  <a:gd name="T52" fmla="*/ 638 w 1493"/>
                  <a:gd name="T53" fmla="*/ 593 h 1340"/>
                  <a:gd name="T54" fmla="*/ 1095 w 1493"/>
                  <a:gd name="T55" fmla="*/ 105 h 1340"/>
                  <a:gd name="T56" fmla="*/ 874 w 1493"/>
                  <a:gd name="T57" fmla="*/ 127 h 1340"/>
                  <a:gd name="T58" fmla="*/ 896 w 1493"/>
                  <a:gd name="T59" fmla="*/ 348 h 1340"/>
                  <a:gd name="T60" fmla="*/ 1117 w 1493"/>
                  <a:gd name="T61" fmla="*/ 326 h 1340"/>
                  <a:gd name="T62" fmla="*/ 1095 w 1493"/>
                  <a:gd name="T63" fmla="*/ 105 h 1340"/>
                  <a:gd name="T64" fmla="*/ 1493 w 1493"/>
                  <a:gd name="T65" fmla="*/ 222 h 1340"/>
                  <a:gd name="T66" fmla="*/ 1197 w 1493"/>
                  <a:gd name="T67" fmla="*/ 200 h 1340"/>
                  <a:gd name="T68" fmla="*/ 1175 w 1493"/>
                  <a:gd name="T69" fmla="*/ 496 h 1340"/>
                  <a:gd name="T70" fmla="*/ 1471 w 1493"/>
                  <a:gd name="T71" fmla="*/ 518 h 1340"/>
                  <a:gd name="T72" fmla="*/ 1117 w 1493"/>
                  <a:gd name="T73" fmla="*/ 667 h 1340"/>
                  <a:gd name="T74" fmla="*/ 1095 w 1493"/>
                  <a:gd name="T75" fmla="*/ 409 h 1340"/>
                  <a:gd name="T76" fmla="*/ 838 w 1493"/>
                  <a:gd name="T77" fmla="*/ 431 h 1340"/>
                  <a:gd name="T78" fmla="*/ 860 w 1493"/>
                  <a:gd name="T79" fmla="*/ 689 h 1340"/>
                  <a:gd name="T80" fmla="*/ 1117 w 1493"/>
                  <a:gd name="T81" fmla="*/ 667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93" h="1340">
                    <a:moveTo>
                      <a:pt x="321" y="1340"/>
                    </a:moveTo>
                    <a:cubicBezTo>
                      <a:pt x="289" y="1340"/>
                      <a:pt x="263" y="1314"/>
                      <a:pt x="263" y="1282"/>
                    </a:cubicBezTo>
                    <a:cubicBezTo>
                      <a:pt x="263" y="1250"/>
                      <a:pt x="289" y="1224"/>
                      <a:pt x="321" y="1224"/>
                    </a:cubicBezTo>
                    <a:cubicBezTo>
                      <a:pt x="353" y="1224"/>
                      <a:pt x="379" y="1250"/>
                      <a:pt x="379" y="1282"/>
                    </a:cubicBezTo>
                    <a:cubicBezTo>
                      <a:pt x="379" y="1314"/>
                      <a:pt x="353" y="1340"/>
                      <a:pt x="321" y="1340"/>
                    </a:cubicBezTo>
                    <a:close/>
                    <a:moveTo>
                      <a:pt x="469" y="22"/>
                    </a:moveTo>
                    <a:cubicBezTo>
                      <a:pt x="469" y="10"/>
                      <a:pt x="459" y="0"/>
                      <a:pt x="447" y="0"/>
                    </a:cubicBezTo>
                    <a:cubicBezTo>
                      <a:pt x="195" y="0"/>
                      <a:pt x="195" y="0"/>
                      <a:pt x="195" y="0"/>
                    </a:cubicBezTo>
                    <a:cubicBezTo>
                      <a:pt x="183" y="0"/>
                      <a:pt x="173" y="10"/>
                      <a:pt x="173" y="22"/>
                    </a:cubicBezTo>
                    <a:cubicBezTo>
                      <a:pt x="173" y="34"/>
                      <a:pt x="183" y="44"/>
                      <a:pt x="195" y="44"/>
                    </a:cubicBezTo>
                    <a:cubicBezTo>
                      <a:pt x="447" y="44"/>
                      <a:pt x="447" y="44"/>
                      <a:pt x="447" y="44"/>
                    </a:cubicBezTo>
                    <a:cubicBezTo>
                      <a:pt x="459" y="44"/>
                      <a:pt x="469" y="34"/>
                      <a:pt x="469" y="22"/>
                    </a:cubicBezTo>
                    <a:close/>
                    <a:moveTo>
                      <a:pt x="504" y="564"/>
                    </a:moveTo>
                    <a:cubicBezTo>
                      <a:pt x="390" y="564"/>
                      <a:pt x="390" y="564"/>
                      <a:pt x="390" y="564"/>
                    </a:cubicBezTo>
                    <a:cubicBezTo>
                      <a:pt x="377" y="564"/>
                      <a:pt x="368" y="574"/>
                      <a:pt x="368" y="586"/>
                    </a:cubicBezTo>
                    <a:cubicBezTo>
                      <a:pt x="368" y="701"/>
                      <a:pt x="368" y="701"/>
                      <a:pt x="368" y="701"/>
                    </a:cubicBezTo>
                    <a:cubicBezTo>
                      <a:pt x="368" y="713"/>
                      <a:pt x="377" y="723"/>
                      <a:pt x="390" y="723"/>
                    </a:cubicBezTo>
                    <a:cubicBezTo>
                      <a:pt x="504" y="723"/>
                      <a:pt x="504" y="723"/>
                      <a:pt x="504" y="723"/>
                    </a:cubicBezTo>
                    <a:cubicBezTo>
                      <a:pt x="516" y="723"/>
                      <a:pt x="526" y="713"/>
                      <a:pt x="526" y="701"/>
                    </a:cubicBezTo>
                    <a:cubicBezTo>
                      <a:pt x="526" y="586"/>
                      <a:pt x="526" y="586"/>
                      <a:pt x="526" y="586"/>
                    </a:cubicBezTo>
                    <a:cubicBezTo>
                      <a:pt x="526" y="574"/>
                      <a:pt x="516" y="564"/>
                      <a:pt x="504" y="564"/>
                    </a:cubicBezTo>
                    <a:moveTo>
                      <a:pt x="758" y="347"/>
                    </a:moveTo>
                    <a:cubicBezTo>
                      <a:pt x="600" y="347"/>
                      <a:pt x="600" y="347"/>
                      <a:pt x="600" y="347"/>
                    </a:cubicBezTo>
                    <a:cubicBezTo>
                      <a:pt x="588" y="347"/>
                      <a:pt x="578" y="357"/>
                      <a:pt x="578" y="369"/>
                    </a:cubicBezTo>
                    <a:cubicBezTo>
                      <a:pt x="578" y="527"/>
                      <a:pt x="578" y="527"/>
                      <a:pt x="578" y="527"/>
                    </a:cubicBezTo>
                    <a:cubicBezTo>
                      <a:pt x="578" y="539"/>
                      <a:pt x="588" y="549"/>
                      <a:pt x="600" y="549"/>
                    </a:cubicBezTo>
                    <a:cubicBezTo>
                      <a:pt x="758" y="549"/>
                      <a:pt x="758" y="549"/>
                      <a:pt x="758" y="549"/>
                    </a:cubicBezTo>
                    <a:cubicBezTo>
                      <a:pt x="770" y="549"/>
                      <a:pt x="780" y="539"/>
                      <a:pt x="780" y="527"/>
                    </a:cubicBezTo>
                    <a:cubicBezTo>
                      <a:pt x="780" y="369"/>
                      <a:pt x="780" y="369"/>
                      <a:pt x="780" y="369"/>
                    </a:cubicBezTo>
                    <a:cubicBezTo>
                      <a:pt x="780" y="357"/>
                      <a:pt x="770" y="347"/>
                      <a:pt x="758" y="347"/>
                    </a:cubicBezTo>
                    <a:moveTo>
                      <a:pt x="600" y="593"/>
                    </a:moveTo>
                    <a:cubicBezTo>
                      <a:pt x="589" y="593"/>
                      <a:pt x="579" y="590"/>
                      <a:pt x="570" y="586"/>
                    </a:cubicBezTo>
                    <a:cubicBezTo>
                      <a:pt x="570" y="586"/>
                      <a:pt x="570" y="586"/>
                      <a:pt x="570" y="586"/>
                    </a:cubicBezTo>
                    <a:cubicBezTo>
                      <a:pt x="570" y="701"/>
                      <a:pt x="570" y="701"/>
                      <a:pt x="570" y="701"/>
                    </a:cubicBezTo>
                    <a:cubicBezTo>
                      <a:pt x="570" y="737"/>
                      <a:pt x="541" y="767"/>
                      <a:pt x="504" y="767"/>
                    </a:cubicBezTo>
                    <a:cubicBezTo>
                      <a:pt x="390" y="767"/>
                      <a:pt x="390" y="767"/>
                      <a:pt x="390" y="767"/>
                    </a:cubicBezTo>
                    <a:cubicBezTo>
                      <a:pt x="353" y="767"/>
                      <a:pt x="324" y="737"/>
                      <a:pt x="324" y="701"/>
                    </a:cubicBezTo>
                    <a:cubicBezTo>
                      <a:pt x="324" y="586"/>
                      <a:pt x="324" y="586"/>
                      <a:pt x="324" y="586"/>
                    </a:cubicBezTo>
                    <a:cubicBezTo>
                      <a:pt x="324" y="550"/>
                      <a:pt x="353" y="520"/>
                      <a:pt x="390" y="520"/>
                    </a:cubicBezTo>
                    <a:cubicBezTo>
                      <a:pt x="504" y="520"/>
                      <a:pt x="504" y="520"/>
                      <a:pt x="504" y="520"/>
                    </a:cubicBezTo>
                    <a:cubicBezTo>
                      <a:pt x="515" y="520"/>
                      <a:pt x="525" y="523"/>
                      <a:pt x="534" y="528"/>
                    </a:cubicBezTo>
                    <a:cubicBezTo>
                      <a:pt x="534" y="527"/>
                      <a:pt x="534" y="527"/>
                      <a:pt x="534" y="527"/>
                    </a:cubicBezTo>
                    <a:cubicBezTo>
                      <a:pt x="534" y="369"/>
                      <a:pt x="534" y="369"/>
                      <a:pt x="534" y="369"/>
                    </a:cubicBezTo>
                    <a:cubicBezTo>
                      <a:pt x="534" y="333"/>
                      <a:pt x="564" y="303"/>
                      <a:pt x="600" y="303"/>
                    </a:cubicBezTo>
                    <a:cubicBezTo>
                      <a:pt x="638" y="303"/>
                      <a:pt x="638" y="303"/>
                      <a:pt x="638" y="303"/>
                    </a:cubicBezTo>
                    <a:cubicBezTo>
                      <a:pt x="638" y="115"/>
                      <a:pt x="638" y="115"/>
                      <a:pt x="638" y="115"/>
                    </a:cubicBezTo>
                    <a:cubicBezTo>
                      <a:pt x="638" y="110"/>
                      <a:pt x="634" y="105"/>
                      <a:pt x="628" y="105"/>
                    </a:cubicBezTo>
                    <a:cubicBezTo>
                      <a:pt x="10" y="105"/>
                      <a:pt x="10" y="105"/>
                      <a:pt x="10" y="105"/>
                    </a:cubicBezTo>
                    <a:cubicBezTo>
                      <a:pt x="4" y="105"/>
                      <a:pt x="0" y="110"/>
                      <a:pt x="0" y="115"/>
                    </a:cubicBezTo>
                    <a:cubicBezTo>
                      <a:pt x="0" y="1092"/>
                      <a:pt x="0" y="1092"/>
                      <a:pt x="0" y="1092"/>
                    </a:cubicBezTo>
                    <a:cubicBezTo>
                      <a:pt x="0" y="1098"/>
                      <a:pt x="4" y="1102"/>
                      <a:pt x="10" y="1102"/>
                    </a:cubicBezTo>
                    <a:cubicBezTo>
                      <a:pt x="628" y="1102"/>
                      <a:pt x="628" y="1102"/>
                      <a:pt x="628" y="1102"/>
                    </a:cubicBezTo>
                    <a:cubicBezTo>
                      <a:pt x="634" y="1102"/>
                      <a:pt x="638" y="1098"/>
                      <a:pt x="638" y="1092"/>
                    </a:cubicBezTo>
                    <a:cubicBezTo>
                      <a:pt x="638" y="593"/>
                      <a:pt x="638" y="593"/>
                      <a:pt x="638" y="593"/>
                    </a:cubicBezTo>
                    <a:lnTo>
                      <a:pt x="600" y="593"/>
                    </a:lnTo>
                    <a:close/>
                    <a:moveTo>
                      <a:pt x="1095" y="105"/>
                    </a:moveTo>
                    <a:cubicBezTo>
                      <a:pt x="896" y="105"/>
                      <a:pt x="896" y="105"/>
                      <a:pt x="896" y="105"/>
                    </a:cubicBezTo>
                    <a:cubicBezTo>
                      <a:pt x="884" y="105"/>
                      <a:pt x="874" y="115"/>
                      <a:pt x="874" y="127"/>
                    </a:cubicBezTo>
                    <a:cubicBezTo>
                      <a:pt x="874" y="326"/>
                      <a:pt x="874" y="326"/>
                      <a:pt x="874" y="326"/>
                    </a:cubicBezTo>
                    <a:cubicBezTo>
                      <a:pt x="874" y="338"/>
                      <a:pt x="884" y="348"/>
                      <a:pt x="896" y="348"/>
                    </a:cubicBezTo>
                    <a:cubicBezTo>
                      <a:pt x="1095" y="348"/>
                      <a:pt x="1095" y="348"/>
                      <a:pt x="1095" y="348"/>
                    </a:cubicBezTo>
                    <a:cubicBezTo>
                      <a:pt x="1107" y="348"/>
                      <a:pt x="1117" y="338"/>
                      <a:pt x="1117" y="326"/>
                    </a:cubicBezTo>
                    <a:cubicBezTo>
                      <a:pt x="1117" y="127"/>
                      <a:pt x="1117" y="127"/>
                      <a:pt x="1117" y="127"/>
                    </a:cubicBezTo>
                    <a:cubicBezTo>
                      <a:pt x="1117" y="115"/>
                      <a:pt x="1107" y="105"/>
                      <a:pt x="1095" y="105"/>
                    </a:cubicBezTo>
                    <a:moveTo>
                      <a:pt x="1493" y="496"/>
                    </a:moveTo>
                    <a:cubicBezTo>
                      <a:pt x="1493" y="222"/>
                      <a:pt x="1493" y="222"/>
                      <a:pt x="1493" y="222"/>
                    </a:cubicBezTo>
                    <a:cubicBezTo>
                      <a:pt x="1493" y="210"/>
                      <a:pt x="1483" y="200"/>
                      <a:pt x="1471" y="200"/>
                    </a:cubicBezTo>
                    <a:cubicBezTo>
                      <a:pt x="1197" y="200"/>
                      <a:pt x="1197" y="200"/>
                      <a:pt x="1197" y="200"/>
                    </a:cubicBezTo>
                    <a:cubicBezTo>
                      <a:pt x="1185" y="200"/>
                      <a:pt x="1175" y="210"/>
                      <a:pt x="1175" y="222"/>
                    </a:cubicBezTo>
                    <a:cubicBezTo>
                      <a:pt x="1175" y="496"/>
                      <a:pt x="1175" y="496"/>
                      <a:pt x="1175" y="496"/>
                    </a:cubicBezTo>
                    <a:cubicBezTo>
                      <a:pt x="1175" y="508"/>
                      <a:pt x="1185" y="518"/>
                      <a:pt x="1197" y="518"/>
                    </a:cubicBezTo>
                    <a:cubicBezTo>
                      <a:pt x="1471" y="518"/>
                      <a:pt x="1471" y="518"/>
                      <a:pt x="1471" y="518"/>
                    </a:cubicBezTo>
                    <a:cubicBezTo>
                      <a:pt x="1483" y="518"/>
                      <a:pt x="1493" y="508"/>
                      <a:pt x="1493" y="496"/>
                    </a:cubicBezTo>
                    <a:close/>
                    <a:moveTo>
                      <a:pt x="1117" y="667"/>
                    </a:moveTo>
                    <a:cubicBezTo>
                      <a:pt x="1117" y="431"/>
                      <a:pt x="1117" y="431"/>
                      <a:pt x="1117" y="431"/>
                    </a:cubicBezTo>
                    <a:cubicBezTo>
                      <a:pt x="1117" y="419"/>
                      <a:pt x="1107" y="409"/>
                      <a:pt x="1095" y="409"/>
                    </a:cubicBezTo>
                    <a:cubicBezTo>
                      <a:pt x="860" y="409"/>
                      <a:pt x="860" y="409"/>
                      <a:pt x="860" y="409"/>
                    </a:cubicBezTo>
                    <a:cubicBezTo>
                      <a:pt x="848" y="409"/>
                      <a:pt x="838" y="419"/>
                      <a:pt x="838" y="431"/>
                    </a:cubicBezTo>
                    <a:cubicBezTo>
                      <a:pt x="838" y="667"/>
                      <a:pt x="838" y="667"/>
                      <a:pt x="838" y="667"/>
                    </a:cubicBezTo>
                    <a:cubicBezTo>
                      <a:pt x="838" y="679"/>
                      <a:pt x="848" y="689"/>
                      <a:pt x="860" y="689"/>
                    </a:cubicBezTo>
                    <a:cubicBezTo>
                      <a:pt x="1095" y="689"/>
                      <a:pt x="1095" y="689"/>
                      <a:pt x="1095" y="689"/>
                    </a:cubicBezTo>
                    <a:cubicBezTo>
                      <a:pt x="1107" y="689"/>
                      <a:pt x="1117" y="679"/>
                      <a:pt x="1117" y="66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1">
                <a:extLst>
                  <a:ext uri="{FF2B5EF4-FFF2-40B4-BE49-F238E27FC236}">
                    <a16:creationId xmlns:a16="http://schemas.microsoft.com/office/drawing/2014/main" id="{1C4AC700-9B1D-455C-9345-1BC9C220871B}"/>
                  </a:ext>
                </a:extLst>
              </p:cNvPr>
              <p:cNvSpPr>
                <a:spLocks noEditPoints="1"/>
              </p:cNvSpPr>
              <p:nvPr/>
            </p:nvSpPr>
            <p:spPr bwMode="auto">
              <a:xfrm>
                <a:off x="2574" y="728"/>
                <a:ext cx="1509" cy="2865"/>
              </a:xfrm>
              <a:custGeom>
                <a:avLst/>
                <a:gdLst>
                  <a:gd name="T0" fmla="*/ 762 w 806"/>
                  <a:gd name="T1" fmla="*/ 695 h 1528"/>
                  <a:gd name="T2" fmla="*/ 762 w 806"/>
                  <a:gd name="T3" fmla="*/ 1252 h 1528"/>
                  <a:gd name="T4" fmla="*/ 44 w 806"/>
                  <a:gd name="T5" fmla="*/ 1252 h 1528"/>
                  <a:gd name="T6" fmla="*/ 44 w 806"/>
                  <a:gd name="T7" fmla="*/ 44 h 1528"/>
                  <a:gd name="T8" fmla="*/ 762 w 806"/>
                  <a:gd name="T9" fmla="*/ 44 h 1528"/>
                  <a:gd name="T10" fmla="*/ 762 w 806"/>
                  <a:gd name="T11" fmla="*/ 405 h 1528"/>
                  <a:gd name="T12" fmla="*/ 806 w 806"/>
                  <a:gd name="T13" fmla="*/ 405 h 1528"/>
                  <a:gd name="T14" fmla="*/ 806 w 806"/>
                  <a:gd name="T15" fmla="*/ 22 h 1528"/>
                  <a:gd name="T16" fmla="*/ 784 w 806"/>
                  <a:gd name="T17" fmla="*/ 0 h 1528"/>
                  <a:gd name="T18" fmla="*/ 22 w 806"/>
                  <a:gd name="T19" fmla="*/ 0 h 1528"/>
                  <a:gd name="T20" fmla="*/ 0 w 806"/>
                  <a:gd name="T21" fmla="*/ 22 h 1528"/>
                  <a:gd name="T22" fmla="*/ 0 w 806"/>
                  <a:gd name="T23" fmla="*/ 1252 h 1528"/>
                  <a:gd name="T24" fmla="*/ 0 w 806"/>
                  <a:gd name="T25" fmla="*/ 1296 h 1528"/>
                  <a:gd name="T26" fmla="*/ 0 w 806"/>
                  <a:gd name="T27" fmla="*/ 1506 h 1528"/>
                  <a:gd name="T28" fmla="*/ 22 w 806"/>
                  <a:gd name="T29" fmla="*/ 1528 h 1528"/>
                  <a:gd name="T30" fmla="*/ 784 w 806"/>
                  <a:gd name="T31" fmla="*/ 1528 h 1528"/>
                  <a:gd name="T32" fmla="*/ 806 w 806"/>
                  <a:gd name="T33" fmla="*/ 1506 h 1528"/>
                  <a:gd name="T34" fmla="*/ 806 w 806"/>
                  <a:gd name="T35" fmla="*/ 1296 h 1528"/>
                  <a:gd name="T36" fmla="*/ 806 w 806"/>
                  <a:gd name="T37" fmla="*/ 1252 h 1528"/>
                  <a:gd name="T38" fmla="*/ 806 w 806"/>
                  <a:gd name="T39" fmla="*/ 695 h 1528"/>
                  <a:gd name="T40" fmla="*/ 762 w 806"/>
                  <a:gd name="T41" fmla="*/ 695 h 1528"/>
                  <a:gd name="T42" fmla="*/ 762 w 806"/>
                  <a:gd name="T43" fmla="*/ 1484 h 1528"/>
                  <a:gd name="T44" fmla="*/ 44 w 806"/>
                  <a:gd name="T45" fmla="*/ 1484 h 1528"/>
                  <a:gd name="T46" fmla="*/ 44 w 806"/>
                  <a:gd name="T47" fmla="*/ 1296 h 1528"/>
                  <a:gd name="T48" fmla="*/ 762 w 806"/>
                  <a:gd name="T49" fmla="*/ 1296 h 1528"/>
                  <a:gd name="T50" fmla="*/ 762 w 806"/>
                  <a:gd name="T51" fmla="*/ 1484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6" h="1528">
                    <a:moveTo>
                      <a:pt x="762" y="695"/>
                    </a:moveTo>
                    <a:cubicBezTo>
                      <a:pt x="762" y="1252"/>
                      <a:pt x="762" y="1252"/>
                      <a:pt x="762" y="1252"/>
                    </a:cubicBezTo>
                    <a:cubicBezTo>
                      <a:pt x="44" y="1252"/>
                      <a:pt x="44" y="1252"/>
                      <a:pt x="44" y="1252"/>
                    </a:cubicBezTo>
                    <a:cubicBezTo>
                      <a:pt x="44" y="44"/>
                      <a:pt x="44" y="44"/>
                      <a:pt x="44" y="44"/>
                    </a:cubicBezTo>
                    <a:cubicBezTo>
                      <a:pt x="762" y="44"/>
                      <a:pt x="762" y="44"/>
                      <a:pt x="762" y="44"/>
                    </a:cubicBezTo>
                    <a:cubicBezTo>
                      <a:pt x="762" y="405"/>
                      <a:pt x="762" y="405"/>
                      <a:pt x="762" y="405"/>
                    </a:cubicBezTo>
                    <a:cubicBezTo>
                      <a:pt x="806" y="405"/>
                      <a:pt x="806" y="405"/>
                      <a:pt x="806" y="405"/>
                    </a:cubicBezTo>
                    <a:cubicBezTo>
                      <a:pt x="806" y="22"/>
                      <a:pt x="806" y="22"/>
                      <a:pt x="806" y="22"/>
                    </a:cubicBezTo>
                    <a:cubicBezTo>
                      <a:pt x="806" y="10"/>
                      <a:pt x="796" y="0"/>
                      <a:pt x="784" y="0"/>
                    </a:cubicBezTo>
                    <a:cubicBezTo>
                      <a:pt x="22" y="0"/>
                      <a:pt x="22" y="0"/>
                      <a:pt x="22" y="0"/>
                    </a:cubicBezTo>
                    <a:cubicBezTo>
                      <a:pt x="10" y="0"/>
                      <a:pt x="0" y="10"/>
                      <a:pt x="0" y="22"/>
                    </a:cubicBezTo>
                    <a:cubicBezTo>
                      <a:pt x="0" y="1252"/>
                      <a:pt x="0" y="1252"/>
                      <a:pt x="0" y="1252"/>
                    </a:cubicBezTo>
                    <a:cubicBezTo>
                      <a:pt x="0" y="1296"/>
                      <a:pt x="0" y="1296"/>
                      <a:pt x="0" y="1296"/>
                    </a:cubicBezTo>
                    <a:cubicBezTo>
                      <a:pt x="0" y="1506"/>
                      <a:pt x="0" y="1506"/>
                      <a:pt x="0" y="1506"/>
                    </a:cubicBezTo>
                    <a:cubicBezTo>
                      <a:pt x="0" y="1518"/>
                      <a:pt x="10" y="1528"/>
                      <a:pt x="22" y="1528"/>
                    </a:cubicBezTo>
                    <a:cubicBezTo>
                      <a:pt x="784" y="1528"/>
                      <a:pt x="784" y="1528"/>
                      <a:pt x="784" y="1528"/>
                    </a:cubicBezTo>
                    <a:cubicBezTo>
                      <a:pt x="796" y="1528"/>
                      <a:pt x="806" y="1518"/>
                      <a:pt x="806" y="1506"/>
                    </a:cubicBezTo>
                    <a:cubicBezTo>
                      <a:pt x="806" y="1296"/>
                      <a:pt x="806" y="1296"/>
                      <a:pt x="806" y="1296"/>
                    </a:cubicBezTo>
                    <a:cubicBezTo>
                      <a:pt x="806" y="1252"/>
                      <a:pt x="806" y="1252"/>
                      <a:pt x="806" y="1252"/>
                    </a:cubicBezTo>
                    <a:cubicBezTo>
                      <a:pt x="806" y="695"/>
                      <a:pt x="806" y="695"/>
                      <a:pt x="806" y="695"/>
                    </a:cubicBezTo>
                    <a:lnTo>
                      <a:pt x="762" y="695"/>
                    </a:lnTo>
                    <a:close/>
                    <a:moveTo>
                      <a:pt x="762" y="1484"/>
                    </a:moveTo>
                    <a:cubicBezTo>
                      <a:pt x="44" y="1484"/>
                      <a:pt x="44" y="1484"/>
                      <a:pt x="44" y="1484"/>
                    </a:cubicBezTo>
                    <a:cubicBezTo>
                      <a:pt x="44" y="1296"/>
                      <a:pt x="44" y="1296"/>
                      <a:pt x="44" y="1296"/>
                    </a:cubicBezTo>
                    <a:cubicBezTo>
                      <a:pt x="762" y="1296"/>
                      <a:pt x="762" y="1296"/>
                      <a:pt x="762" y="1296"/>
                    </a:cubicBezTo>
                    <a:lnTo>
                      <a:pt x="762" y="148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 name="Group 4">
            <a:extLst>
              <a:ext uri="{FF2B5EF4-FFF2-40B4-BE49-F238E27FC236}">
                <a16:creationId xmlns:a16="http://schemas.microsoft.com/office/drawing/2014/main" id="{BD63117C-D578-4E0D-AD44-371156FBD816}"/>
              </a:ext>
            </a:extLst>
          </p:cNvPr>
          <p:cNvGrpSpPr/>
          <p:nvPr/>
        </p:nvGrpSpPr>
        <p:grpSpPr>
          <a:xfrm>
            <a:off x="5432523" y="1890809"/>
            <a:ext cx="1371600" cy="1371600"/>
            <a:chOff x="5029148" y="2080800"/>
            <a:chExt cx="1371600" cy="1371600"/>
          </a:xfrm>
        </p:grpSpPr>
        <p:sp>
          <p:nvSpPr>
            <p:cNvPr id="55" name="Oval 54"/>
            <p:cNvSpPr/>
            <p:nvPr/>
          </p:nvSpPr>
          <p:spPr>
            <a:xfrm>
              <a:off x="5029148" y="2080800"/>
              <a:ext cx="1371600" cy="1371600"/>
            </a:xfrm>
            <a:prstGeom prst="ellipse">
              <a:avLst/>
            </a:prstGeom>
            <a:solidFill>
              <a:srgbClr val="FFFFFF"/>
            </a:solidFill>
            <a:ln w="762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44" name="bcgIcons_MagnifyingGlassSearch">
              <a:extLst>
                <a:ext uri="{FF2B5EF4-FFF2-40B4-BE49-F238E27FC236}">
                  <a16:creationId xmlns:a16="http://schemas.microsoft.com/office/drawing/2014/main" id="{C67A9497-11E5-4DC2-801F-2A971E925831}"/>
                </a:ext>
              </a:extLst>
            </p:cNvPr>
            <p:cNvGrpSpPr>
              <a:grpSpLocks noChangeAspect="1"/>
            </p:cNvGrpSpPr>
            <p:nvPr/>
          </p:nvGrpSpPr>
          <p:grpSpPr bwMode="auto">
            <a:xfrm>
              <a:off x="5273806" y="2324309"/>
              <a:ext cx="913555" cy="914400"/>
              <a:chOff x="1682" y="0"/>
              <a:chExt cx="4316" cy="4320"/>
            </a:xfrm>
          </p:grpSpPr>
          <p:sp>
            <p:nvSpPr>
              <p:cNvPr id="45" name="AutoShape 8">
                <a:extLst>
                  <a:ext uri="{FF2B5EF4-FFF2-40B4-BE49-F238E27FC236}">
                    <a16:creationId xmlns:a16="http://schemas.microsoft.com/office/drawing/2014/main" id="{F80565A1-6EB2-45C4-96E9-B8438A8C3024}"/>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10">
                <a:extLst>
                  <a:ext uri="{FF2B5EF4-FFF2-40B4-BE49-F238E27FC236}">
                    <a16:creationId xmlns:a16="http://schemas.microsoft.com/office/drawing/2014/main" id="{F338CF84-75F6-4D4C-8DE4-0D1455118934}"/>
                  </a:ext>
                </a:extLst>
              </p:cNvPr>
              <p:cNvSpPr>
                <a:spLocks noEditPoints="1"/>
              </p:cNvSpPr>
              <p:nvPr/>
            </p:nvSpPr>
            <p:spPr bwMode="auto">
              <a:xfrm>
                <a:off x="3280" y="703"/>
                <a:ext cx="1821" cy="1802"/>
              </a:xfrm>
              <a:custGeom>
                <a:avLst/>
                <a:gdLst>
                  <a:gd name="T0" fmla="*/ 748 w 972"/>
                  <a:gd name="T1" fmla="*/ 142 h 961"/>
                  <a:gd name="T2" fmla="*/ 145 w 972"/>
                  <a:gd name="T3" fmla="*/ 223 h 961"/>
                  <a:gd name="T4" fmla="*/ 225 w 972"/>
                  <a:gd name="T5" fmla="*/ 818 h 961"/>
                  <a:gd name="T6" fmla="*/ 827 w 972"/>
                  <a:gd name="T7" fmla="*/ 738 h 961"/>
                  <a:gd name="T8" fmla="*/ 748 w 972"/>
                  <a:gd name="T9" fmla="*/ 142 h 961"/>
                  <a:gd name="T10" fmla="*/ 777 w 972"/>
                  <a:gd name="T11" fmla="*/ 700 h 961"/>
                  <a:gd name="T12" fmla="*/ 701 w 972"/>
                  <a:gd name="T13" fmla="*/ 774 h 961"/>
                  <a:gd name="T14" fmla="*/ 688 w 972"/>
                  <a:gd name="T15" fmla="*/ 778 h 961"/>
                  <a:gd name="T16" fmla="*/ 670 w 972"/>
                  <a:gd name="T17" fmla="*/ 769 h 961"/>
                  <a:gd name="T18" fmla="*/ 675 w 972"/>
                  <a:gd name="T19" fmla="*/ 738 h 961"/>
                  <a:gd name="T20" fmla="*/ 742 w 972"/>
                  <a:gd name="T21" fmla="*/ 673 h 961"/>
                  <a:gd name="T22" fmla="*/ 806 w 972"/>
                  <a:gd name="T23" fmla="*/ 438 h 961"/>
                  <a:gd name="T24" fmla="*/ 683 w 972"/>
                  <a:gd name="T25" fmla="*/ 227 h 961"/>
                  <a:gd name="T26" fmla="*/ 641 w 972"/>
                  <a:gd name="T27" fmla="*/ 200 h 961"/>
                  <a:gd name="T28" fmla="*/ 632 w 972"/>
                  <a:gd name="T29" fmla="*/ 170 h 961"/>
                  <a:gd name="T30" fmla="*/ 661 w 972"/>
                  <a:gd name="T31" fmla="*/ 161 h 961"/>
                  <a:gd name="T32" fmla="*/ 709 w 972"/>
                  <a:gd name="T33" fmla="*/ 192 h 961"/>
                  <a:gd name="T34" fmla="*/ 850 w 972"/>
                  <a:gd name="T35" fmla="*/ 432 h 961"/>
                  <a:gd name="T36" fmla="*/ 777 w 972"/>
                  <a:gd name="T37" fmla="*/ 70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2" h="961">
                    <a:moveTo>
                      <a:pt x="748" y="142"/>
                    </a:moveTo>
                    <a:cubicBezTo>
                      <a:pt x="560" y="0"/>
                      <a:pt x="290" y="36"/>
                      <a:pt x="145" y="223"/>
                    </a:cubicBezTo>
                    <a:cubicBezTo>
                      <a:pt x="0" y="409"/>
                      <a:pt x="35" y="676"/>
                      <a:pt x="225" y="818"/>
                    </a:cubicBezTo>
                    <a:cubicBezTo>
                      <a:pt x="413" y="961"/>
                      <a:pt x="683" y="925"/>
                      <a:pt x="827" y="738"/>
                    </a:cubicBezTo>
                    <a:cubicBezTo>
                      <a:pt x="972" y="551"/>
                      <a:pt x="936" y="285"/>
                      <a:pt x="748" y="142"/>
                    </a:cubicBezTo>
                    <a:close/>
                    <a:moveTo>
                      <a:pt x="777" y="700"/>
                    </a:moveTo>
                    <a:cubicBezTo>
                      <a:pt x="755" y="729"/>
                      <a:pt x="730" y="753"/>
                      <a:pt x="701" y="774"/>
                    </a:cubicBezTo>
                    <a:cubicBezTo>
                      <a:pt x="697" y="777"/>
                      <a:pt x="692" y="778"/>
                      <a:pt x="688" y="778"/>
                    </a:cubicBezTo>
                    <a:cubicBezTo>
                      <a:pt x="681" y="778"/>
                      <a:pt x="674" y="775"/>
                      <a:pt x="670" y="769"/>
                    </a:cubicBezTo>
                    <a:cubicBezTo>
                      <a:pt x="663" y="759"/>
                      <a:pt x="665" y="746"/>
                      <a:pt x="675" y="738"/>
                    </a:cubicBezTo>
                    <a:cubicBezTo>
                      <a:pt x="700" y="720"/>
                      <a:pt x="723" y="698"/>
                      <a:pt x="742" y="673"/>
                    </a:cubicBezTo>
                    <a:cubicBezTo>
                      <a:pt x="795" y="606"/>
                      <a:pt x="817" y="522"/>
                      <a:pt x="806" y="438"/>
                    </a:cubicBezTo>
                    <a:cubicBezTo>
                      <a:pt x="795" y="353"/>
                      <a:pt x="751" y="279"/>
                      <a:pt x="683" y="227"/>
                    </a:cubicBezTo>
                    <a:cubicBezTo>
                      <a:pt x="669" y="217"/>
                      <a:pt x="655" y="208"/>
                      <a:pt x="641" y="200"/>
                    </a:cubicBezTo>
                    <a:cubicBezTo>
                      <a:pt x="630" y="194"/>
                      <a:pt x="626" y="181"/>
                      <a:pt x="632" y="170"/>
                    </a:cubicBezTo>
                    <a:cubicBezTo>
                      <a:pt x="637" y="159"/>
                      <a:pt x="651" y="155"/>
                      <a:pt x="661" y="161"/>
                    </a:cubicBezTo>
                    <a:cubicBezTo>
                      <a:pt x="678" y="170"/>
                      <a:pt x="694" y="180"/>
                      <a:pt x="709" y="192"/>
                    </a:cubicBezTo>
                    <a:cubicBezTo>
                      <a:pt x="787" y="251"/>
                      <a:pt x="837" y="336"/>
                      <a:pt x="850" y="432"/>
                    </a:cubicBezTo>
                    <a:cubicBezTo>
                      <a:pt x="862" y="528"/>
                      <a:pt x="837" y="623"/>
                      <a:pt x="777" y="7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11">
                <a:extLst>
                  <a:ext uri="{FF2B5EF4-FFF2-40B4-BE49-F238E27FC236}">
                    <a16:creationId xmlns:a16="http://schemas.microsoft.com/office/drawing/2014/main" id="{E12DF916-1AB4-4661-BC46-657A9B983863}"/>
                  </a:ext>
                </a:extLst>
              </p:cNvPr>
              <p:cNvSpPr>
                <a:spLocks noEditPoints="1"/>
              </p:cNvSpPr>
              <p:nvPr/>
            </p:nvSpPr>
            <p:spPr bwMode="auto">
              <a:xfrm>
                <a:off x="2422" y="465"/>
                <a:ext cx="2904" cy="3306"/>
              </a:xfrm>
              <a:custGeom>
                <a:avLst/>
                <a:gdLst>
                  <a:gd name="T0" fmla="*/ 1270 w 1550"/>
                  <a:gd name="T1" fmla="*/ 179 h 1763"/>
                  <a:gd name="T2" fmla="*/ 517 w 1550"/>
                  <a:gd name="T3" fmla="*/ 280 h 1763"/>
                  <a:gd name="T4" fmla="*/ 545 w 1550"/>
                  <a:gd name="T5" fmla="*/ 965 h 1763"/>
                  <a:gd name="T6" fmla="*/ 437 w 1550"/>
                  <a:gd name="T7" fmla="*/ 1107 h 1763"/>
                  <a:gd name="T8" fmla="*/ 587 w 1550"/>
                  <a:gd name="T9" fmla="*/ 1222 h 1763"/>
                  <a:gd name="T10" fmla="*/ 694 w 1550"/>
                  <a:gd name="T11" fmla="*/ 1082 h 1763"/>
                  <a:gd name="T12" fmla="*/ 1370 w 1550"/>
                  <a:gd name="T13" fmla="*/ 933 h 1763"/>
                  <a:gd name="T14" fmla="*/ 1270 w 1550"/>
                  <a:gd name="T15" fmla="*/ 179 h 1763"/>
                  <a:gd name="T16" fmla="*/ 1317 w 1550"/>
                  <a:gd name="T17" fmla="*/ 892 h 1763"/>
                  <a:gd name="T18" fmla="*/ 701 w 1550"/>
                  <a:gd name="T19" fmla="*/ 1009 h 1763"/>
                  <a:gd name="T20" fmla="*/ 658 w 1550"/>
                  <a:gd name="T21" fmla="*/ 980 h 1763"/>
                  <a:gd name="T22" fmla="*/ 614 w 1550"/>
                  <a:gd name="T23" fmla="*/ 941 h 1763"/>
                  <a:gd name="T24" fmla="*/ 570 w 1550"/>
                  <a:gd name="T25" fmla="*/ 320 h 1763"/>
                  <a:gd name="T26" fmla="*/ 1229 w 1550"/>
                  <a:gd name="T27" fmla="*/ 233 h 1763"/>
                  <a:gd name="T28" fmla="*/ 1317 w 1550"/>
                  <a:gd name="T29" fmla="*/ 892 h 1763"/>
                  <a:gd name="T30" fmla="*/ 181 w 1550"/>
                  <a:gd name="T31" fmla="*/ 1763 h 1763"/>
                  <a:gd name="T32" fmla="*/ 162 w 1550"/>
                  <a:gd name="T33" fmla="*/ 1761 h 1763"/>
                  <a:gd name="T34" fmla="*/ 83 w 1550"/>
                  <a:gd name="T35" fmla="*/ 1724 h 1763"/>
                  <a:gd name="T36" fmla="*/ 27 w 1550"/>
                  <a:gd name="T37" fmla="*/ 1584 h 1763"/>
                  <a:gd name="T38" fmla="*/ 367 w 1550"/>
                  <a:gd name="T39" fmla="*/ 1136 h 1763"/>
                  <a:gd name="T40" fmla="*/ 382 w 1550"/>
                  <a:gd name="T41" fmla="*/ 1128 h 1763"/>
                  <a:gd name="T42" fmla="*/ 398 w 1550"/>
                  <a:gd name="T43" fmla="*/ 1132 h 1763"/>
                  <a:gd name="T44" fmla="*/ 568 w 1550"/>
                  <a:gd name="T45" fmla="*/ 1263 h 1763"/>
                  <a:gd name="T46" fmla="*/ 572 w 1550"/>
                  <a:gd name="T47" fmla="*/ 1294 h 1763"/>
                  <a:gd name="T48" fmla="*/ 233 w 1550"/>
                  <a:gd name="T49" fmla="*/ 1740 h 1763"/>
                  <a:gd name="T50" fmla="*/ 181 w 1550"/>
                  <a:gd name="T51" fmla="*/ 1763 h 1763"/>
                  <a:gd name="T52" fmla="*/ 389 w 1550"/>
                  <a:gd name="T53" fmla="*/ 1181 h 1763"/>
                  <a:gd name="T54" fmla="*/ 62 w 1550"/>
                  <a:gd name="T55" fmla="*/ 1610 h 1763"/>
                  <a:gd name="T56" fmla="*/ 109 w 1550"/>
                  <a:gd name="T57" fmla="*/ 1689 h 1763"/>
                  <a:gd name="T58" fmla="*/ 170 w 1550"/>
                  <a:gd name="T59" fmla="*/ 1718 h 1763"/>
                  <a:gd name="T60" fmla="*/ 198 w 1550"/>
                  <a:gd name="T61" fmla="*/ 1714 h 1763"/>
                  <a:gd name="T62" fmla="*/ 524 w 1550"/>
                  <a:gd name="T63" fmla="*/ 1284 h 1763"/>
                  <a:gd name="T64" fmla="*/ 389 w 1550"/>
                  <a:gd name="T65" fmla="*/ 1181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50" h="1763">
                    <a:moveTo>
                      <a:pt x="1270" y="179"/>
                    </a:moveTo>
                    <a:cubicBezTo>
                      <a:pt x="1034" y="0"/>
                      <a:pt x="697" y="45"/>
                      <a:pt x="517" y="280"/>
                    </a:cubicBezTo>
                    <a:cubicBezTo>
                      <a:pt x="358" y="488"/>
                      <a:pt x="375" y="777"/>
                      <a:pt x="545" y="965"/>
                    </a:cubicBezTo>
                    <a:cubicBezTo>
                      <a:pt x="466" y="1068"/>
                      <a:pt x="444" y="1098"/>
                      <a:pt x="437" y="1107"/>
                    </a:cubicBezTo>
                    <a:cubicBezTo>
                      <a:pt x="587" y="1222"/>
                      <a:pt x="587" y="1222"/>
                      <a:pt x="587" y="1222"/>
                    </a:cubicBezTo>
                    <a:cubicBezTo>
                      <a:pt x="694" y="1082"/>
                      <a:pt x="694" y="1082"/>
                      <a:pt x="694" y="1082"/>
                    </a:cubicBezTo>
                    <a:cubicBezTo>
                      <a:pt x="921" y="1201"/>
                      <a:pt x="1209" y="1143"/>
                      <a:pt x="1370" y="933"/>
                    </a:cubicBezTo>
                    <a:cubicBezTo>
                      <a:pt x="1550" y="697"/>
                      <a:pt x="1505" y="360"/>
                      <a:pt x="1270" y="179"/>
                    </a:cubicBezTo>
                    <a:close/>
                    <a:moveTo>
                      <a:pt x="1317" y="892"/>
                    </a:moveTo>
                    <a:cubicBezTo>
                      <a:pt x="1170" y="1084"/>
                      <a:pt x="903" y="1131"/>
                      <a:pt x="701" y="1009"/>
                    </a:cubicBezTo>
                    <a:cubicBezTo>
                      <a:pt x="686" y="1000"/>
                      <a:pt x="672" y="990"/>
                      <a:pt x="658" y="980"/>
                    </a:cubicBezTo>
                    <a:cubicBezTo>
                      <a:pt x="643" y="968"/>
                      <a:pt x="628" y="955"/>
                      <a:pt x="614" y="941"/>
                    </a:cubicBezTo>
                    <a:cubicBezTo>
                      <a:pt x="447" y="778"/>
                      <a:pt x="425" y="511"/>
                      <a:pt x="570" y="320"/>
                    </a:cubicBezTo>
                    <a:cubicBezTo>
                      <a:pt x="728" y="114"/>
                      <a:pt x="1023" y="75"/>
                      <a:pt x="1229" y="233"/>
                    </a:cubicBezTo>
                    <a:cubicBezTo>
                      <a:pt x="1435" y="390"/>
                      <a:pt x="1474" y="686"/>
                      <a:pt x="1317" y="892"/>
                    </a:cubicBezTo>
                    <a:close/>
                    <a:moveTo>
                      <a:pt x="181" y="1763"/>
                    </a:moveTo>
                    <a:cubicBezTo>
                      <a:pt x="175" y="1763"/>
                      <a:pt x="169" y="1762"/>
                      <a:pt x="162" y="1761"/>
                    </a:cubicBezTo>
                    <a:cubicBezTo>
                      <a:pt x="137" y="1757"/>
                      <a:pt x="108" y="1743"/>
                      <a:pt x="83" y="1724"/>
                    </a:cubicBezTo>
                    <a:cubicBezTo>
                      <a:pt x="24" y="1679"/>
                      <a:pt x="0" y="1619"/>
                      <a:pt x="27" y="1584"/>
                    </a:cubicBezTo>
                    <a:cubicBezTo>
                      <a:pt x="367" y="1136"/>
                      <a:pt x="367" y="1136"/>
                      <a:pt x="367" y="1136"/>
                    </a:cubicBezTo>
                    <a:cubicBezTo>
                      <a:pt x="371" y="1132"/>
                      <a:pt x="376" y="1129"/>
                      <a:pt x="382" y="1128"/>
                    </a:cubicBezTo>
                    <a:cubicBezTo>
                      <a:pt x="387" y="1127"/>
                      <a:pt x="393" y="1129"/>
                      <a:pt x="398" y="1132"/>
                    </a:cubicBezTo>
                    <a:cubicBezTo>
                      <a:pt x="568" y="1263"/>
                      <a:pt x="568" y="1263"/>
                      <a:pt x="568" y="1263"/>
                    </a:cubicBezTo>
                    <a:cubicBezTo>
                      <a:pt x="578" y="1270"/>
                      <a:pt x="579" y="1284"/>
                      <a:pt x="572" y="1294"/>
                    </a:cubicBezTo>
                    <a:cubicBezTo>
                      <a:pt x="233" y="1740"/>
                      <a:pt x="233" y="1740"/>
                      <a:pt x="233" y="1740"/>
                    </a:cubicBezTo>
                    <a:cubicBezTo>
                      <a:pt x="221" y="1755"/>
                      <a:pt x="203" y="1763"/>
                      <a:pt x="181" y="1763"/>
                    </a:cubicBezTo>
                    <a:close/>
                    <a:moveTo>
                      <a:pt x="389" y="1181"/>
                    </a:moveTo>
                    <a:cubicBezTo>
                      <a:pt x="62" y="1610"/>
                      <a:pt x="62" y="1610"/>
                      <a:pt x="62" y="1610"/>
                    </a:cubicBezTo>
                    <a:cubicBezTo>
                      <a:pt x="54" y="1621"/>
                      <a:pt x="69" y="1658"/>
                      <a:pt x="109" y="1689"/>
                    </a:cubicBezTo>
                    <a:cubicBezTo>
                      <a:pt x="129" y="1704"/>
                      <a:pt x="151" y="1714"/>
                      <a:pt x="170" y="1718"/>
                    </a:cubicBezTo>
                    <a:cubicBezTo>
                      <a:pt x="183" y="1720"/>
                      <a:pt x="194" y="1718"/>
                      <a:pt x="198" y="1714"/>
                    </a:cubicBezTo>
                    <a:cubicBezTo>
                      <a:pt x="524" y="1284"/>
                      <a:pt x="524" y="1284"/>
                      <a:pt x="524" y="1284"/>
                    </a:cubicBezTo>
                    <a:lnTo>
                      <a:pt x="389" y="118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49" name="Oval 48">
            <a:extLst>
              <a:ext uri="{FF2B5EF4-FFF2-40B4-BE49-F238E27FC236}">
                <a16:creationId xmlns:a16="http://schemas.microsoft.com/office/drawing/2014/main" id="{828A878E-46F5-4475-B1C8-DA0AA5DD363D}"/>
              </a:ext>
            </a:extLst>
          </p:cNvPr>
          <p:cNvSpPr>
            <a:spLocks noChangeAspect="1"/>
          </p:cNvSpPr>
          <p:nvPr/>
        </p:nvSpPr>
        <p:spPr>
          <a:xfrm>
            <a:off x="1774923" y="4306992"/>
            <a:ext cx="1371600" cy="1371600"/>
          </a:xfrm>
          <a:prstGeom prst="ellipse">
            <a:avLst/>
          </a:prstGeom>
          <a:solidFill>
            <a:srgbClr val="FFFFFF"/>
          </a:solidFill>
          <a:ln w="762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
        <p:nvSpPr>
          <p:cNvPr id="63" name="Oval 62">
            <a:extLst>
              <a:ext uri="{FF2B5EF4-FFF2-40B4-BE49-F238E27FC236}">
                <a16:creationId xmlns:a16="http://schemas.microsoft.com/office/drawing/2014/main" id="{3EE5AE23-854A-4EC7-8193-12AE06FC63C1}"/>
              </a:ext>
            </a:extLst>
          </p:cNvPr>
          <p:cNvSpPr/>
          <p:nvPr/>
        </p:nvSpPr>
        <p:spPr>
          <a:xfrm>
            <a:off x="9090123" y="4306992"/>
            <a:ext cx="1371600" cy="1371600"/>
          </a:xfrm>
          <a:prstGeom prst="ellipse">
            <a:avLst/>
          </a:prstGeom>
          <a:solidFill>
            <a:srgbClr val="FFFFFF"/>
          </a:solidFill>
          <a:ln w="762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
        <p:nvSpPr>
          <p:cNvPr id="74" name="TextBox 73">
            <a:extLst>
              <a:ext uri="{FF2B5EF4-FFF2-40B4-BE49-F238E27FC236}">
                <a16:creationId xmlns:a16="http://schemas.microsoft.com/office/drawing/2014/main" id="{322A86B2-3F67-4BD5-B214-9189402E9291}"/>
              </a:ext>
            </a:extLst>
          </p:cNvPr>
          <p:cNvSpPr txBox="1"/>
          <p:nvPr/>
        </p:nvSpPr>
        <p:spPr>
          <a:xfrm>
            <a:off x="4628247" y="5785609"/>
            <a:ext cx="3106957" cy="581698"/>
          </a:xfrm>
          <a:prstGeom prst="rect">
            <a:avLst/>
          </a:prstGeom>
          <a:noFill/>
        </p:spPr>
        <p:txBody>
          <a:bodyPr wrap="square" lIns="0" tIns="0" rIns="0" bIns="0" rtlCol="0" anchor="t">
            <a:spAutoFit/>
          </a:bodyPr>
          <a:lstStyle/>
          <a:p>
            <a:pPr algn="ctr">
              <a:lnSpc>
                <a:spcPct val="90000"/>
              </a:lnSpc>
              <a:spcAft>
                <a:spcPts val="600"/>
              </a:spcAft>
            </a:pPr>
            <a:r>
              <a:rPr lang="en-US" sz="1400" dirty="0">
                <a:solidFill>
                  <a:srgbClr val="29BA74"/>
                </a:solidFill>
              </a:rPr>
              <a:t>Bookmark and organize learning to build topic- or interest-based collections</a:t>
            </a:r>
            <a:endParaRPr lang="en-US" sz="1100" dirty="0">
              <a:solidFill>
                <a:srgbClr val="29BA74"/>
              </a:solidFill>
              <a:sym typeface="Trebuchet MS" panose="020B0603020202020204" pitchFamily="34" charset="0"/>
            </a:endParaRPr>
          </a:p>
        </p:txBody>
      </p:sp>
      <p:sp>
        <p:nvSpPr>
          <p:cNvPr id="75" name="TextBox 74">
            <a:extLst>
              <a:ext uri="{FF2B5EF4-FFF2-40B4-BE49-F238E27FC236}">
                <a16:creationId xmlns:a16="http://schemas.microsoft.com/office/drawing/2014/main" id="{FBF6EC36-6C03-48FC-817F-AF8115266795}"/>
              </a:ext>
            </a:extLst>
          </p:cNvPr>
          <p:cNvSpPr txBox="1"/>
          <p:nvPr/>
        </p:nvSpPr>
        <p:spPr>
          <a:xfrm>
            <a:off x="8200875" y="5785609"/>
            <a:ext cx="3448050" cy="775597"/>
          </a:xfrm>
          <a:prstGeom prst="rect">
            <a:avLst/>
          </a:prstGeom>
          <a:noFill/>
        </p:spPr>
        <p:txBody>
          <a:bodyPr wrap="square" lIns="0" tIns="0" rIns="0" bIns="0" rtlCol="0" anchor="t">
            <a:spAutoFit/>
          </a:bodyPr>
          <a:lstStyle/>
          <a:p>
            <a:pPr algn="ctr">
              <a:lnSpc>
                <a:spcPct val="90000"/>
              </a:lnSpc>
              <a:spcAft>
                <a:spcPts val="600"/>
              </a:spcAft>
            </a:pPr>
            <a:r>
              <a:rPr lang="en-US" sz="1400" dirty="0">
                <a:solidFill>
                  <a:srgbClr val="29BA74"/>
                </a:solidFill>
              </a:rPr>
              <a:t>Follow topics of interest to cultivate a unique learning journey, with featured content delivered directly to the home page</a:t>
            </a:r>
            <a:endParaRPr lang="en-US" sz="1100" dirty="0">
              <a:solidFill>
                <a:srgbClr val="29BA74"/>
              </a:solidFill>
              <a:sym typeface="Trebuchet MS" panose="020B0603020202020204" pitchFamily="34" charset="0"/>
            </a:endParaRPr>
          </a:p>
        </p:txBody>
      </p:sp>
      <p:sp>
        <p:nvSpPr>
          <p:cNvPr id="76" name="TextBox 75">
            <a:extLst>
              <a:ext uri="{FF2B5EF4-FFF2-40B4-BE49-F238E27FC236}">
                <a16:creationId xmlns:a16="http://schemas.microsoft.com/office/drawing/2014/main" id="{FCBF3BC1-275C-4590-9B10-1D3ED4B1332E}"/>
              </a:ext>
            </a:extLst>
          </p:cNvPr>
          <p:cNvSpPr txBox="1"/>
          <p:nvPr/>
        </p:nvSpPr>
        <p:spPr>
          <a:xfrm>
            <a:off x="715725" y="5785609"/>
            <a:ext cx="3448050" cy="387798"/>
          </a:xfrm>
          <a:prstGeom prst="rect">
            <a:avLst/>
          </a:prstGeom>
          <a:noFill/>
        </p:spPr>
        <p:txBody>
          <a:bodyPr wrap="square" lIns="0" tIns="0" rIns="0" bIns="0" rtlCol="0" anchor="t">
            <a:spAutoFit/>
          </a:bodyPr>
          <a:lstStyle/>
          <a:p>
            <a:pPr algn="ctr">
              <a:lnSpc>
                <a:spcPct val="90000"/>
              </a:lnSpc>
              <a:spcAft>
                <a:spcPts val="600"/>
              </a:spcAft>
            </a:pPr>
            <a:r>
              <a:rPr lang="en-US" sz="1400" dirty="0">
                <a:solidFill>
                  <a:srgbClr val="29BA74"/>
                </a:solidFill>
              </a:rPr>
              <a:t>My Plan page centralizes all assigned, started, or completed learning</a:t>
            </a:r>
            <a:endParaRPr lang="en-US" sz="1100" dirty="0">
              <a:solidFill>
                <a:srgbClr val="29BA74"/>
              </a:solidFill>
              <a:sym typeface="Trebuchet MS" panose="020B0603020202020204" pitchFamily="34" charset="0"/>
            </a:endParaRPr>
          </a:p>
        </p:txBody>
      </p:sp>
      <p:grpSp>
        <p:nvGrpSpPr>
          <p:cNvPr id="81" name="Group 80">
            <a:extLst>
              <a:ext uri="{FF2B5EF4-FFF2-40B4-BE49-F238E27FC236}">
                <a16:creationId xmlns:a16="http://schemas.microsoft.com/office/drawing/2014/main" id="{A85FC0F6-7829-4373-858B-A8296C3A2C22}"/>
              </a:ext>
            </a:extLst>
          </p:cNvPr>
          <p:cNvGrpSpPr>
            <a:grpSpLocks noChangeAspect="1"/>
          </p:cNvGrpSpPr>
          <p:nvPr/>
        </p:nvGrpSpPr>
        <p:grpSpPr>
          <a:xfrm>
            <a:off x="2003523" y="4541611"/>
            <a:ext cx="914400" cy="914400"/>
            <a:chOff x="5273675" y="2600325"/>
            <a:chExt cx="1644650" cy="1644650"/>
          </a:xfrm>
        </p:grpSpPr>
        <p:sp>
          <p:nvSpPr>
            <p:cNvPr id="82" name="AutoShape 3">
              <a:extLst>
                <a:ext uri="{FF2B5EF4-FFF2-40B4-BE49-F238E27FC236}">
                  <a16:creationId xmlns:a16="http://schemas.microsoft.com/office/drawing/2014/main" id="{52F00CB4-8ABB-43A3-A7A8-C95AC74AC753}"/>
                </a:ext>
              </a:extLst>
            </p:cNvPr>
            <p:cNvSpPr>
              <a:spLocks noChangeAspect="1" noChangeArrowheads="1" noTextEdit="1"/>
            </p:cNvSpPr>
            <p:nvPr/>
          </p:nvSpPr>
          <p:spPr bwMode="auto">
            <a:xfrm>
              <a:off x="5273675" y="260032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3" name="Group 82">
              <a:extLst>
                <a:ext uri="{FF2B5EF4-FFF2-40B4-BE49-F238E27FC236}">
                  <a16:creationId xmlns:a16="http://schemas.microsoft.com/office/drawing/2014/main" id="{09CF238E-A768-40D9-9FCF-F09F65E288F7}"/>
                </a:ext>
              </a:extLst>
            </p:cNvPr>
            <p:cNvGrpSpPr/>
            <p:nvPr/>
          </p:nvGrpSpPr>
          <p:grpSpPr>
            <a:xfrm>
              <a:off x="5443538" y="2770188"/>
              <a:ext cx="1303338" cy="1303338"/>
              <a:chOff x="5443538" y="2770188"/>
              <a:chExt cx="1303338" cy="1303338"/>
            </a:xfrm>
          </p:grpSpPr>
          <p:sp>
            <p:nvSpPr>
              <p:cNvPr id="84" name="Freeform 26">
                <a:extLst>
                  <a:ext uri="{FF2B5EF4-FFF2-40B4-BE49-F238E27FC236}">
                    <a16:creationId xmlns:a16="http://schemas.microsoft.com/office/drawing/2014/main" id="{E00F7EF5-1D46-4497-B1C9-B1D59BFB2A89}"/>
                  </a:ext>
                </a:extLst>
              </p:cNvPr>
              <p:cNvSpPr>
                <a:spLocks/>
              </p:cNvSpPr>
              <p:nvPr/>
            </p:nvSpPr>
            <p:spPr bwMode="auto">
              <a:xfrm>
                <a:off x="5707063" y="3082925"/>
                <a:ext cx="776288" cy="674688"/>
              </a:xfrm>
              <a:custGeom>
                <a:avLst/>
                <a:gdLst>
                  <a:gd name="connsiteX0" fmla="*/ 28593 w 776288"/>
                  <a:gd name="connsiteY0" fmla="*/ 381000 h 674688"/>
                  <a:gd name="connsiteX1" fmla="*/ 448189 w 776288"/>
                  <a:gd name="connsiteY1" fmla="*/ 381000 h 674688"/>
                  <a:gd name="connsiteX2" fmla="*/ 489648 w 776288"/>
                  <a:gd name="connsiteY2" fmla="*/ 405949 h 674688"/>
                  <a:gd name="connsiteX3" fmla="*/ 518955 w 776288"/>
                  <a:gd name="connsiteY3" fmla="*/ 522854 h 674688"/>
                  <a:gd name="connsiteX4" fmla="*/ 528963 w 776288"/>
                  <a:gd name="connsiteY4" fmla="*/ 542814 h 674688"/>
                  <a:gd name="connsiteX5" fmla="*/ 533966 w 776288"/>
                  <a:gd name="connsiteY5" fmla="*/ 543527 h 674688"/>
                  <a:gd name="connsiteX6" fmla="*/ 548977 w 776288"/>
                  <a:gd name="connsiteY6" fmla="*/ 532834 h 674688"/>
                  <a:gd name="connsiteX7" fmla="*/ 511092 w 776288"/>
                  <a:gd name="connsiteY7" fmla="*/ 383139 h 674688"/>
                  <a:gd name="connsiteX8" fmla="*/ 508948 w 776288"/>
                  <a:gd name="connsiteY8" fmla="*/ 381000 h 674688"/>
                  <a:gd name="connsiteX9" fmla="*/ 743407 w 776288"/>
                  <a:gd name="connsiteY9" fmla="*/ 381000 h 674688"/>
                  <a:gd name="connsiteX10" fmla="*/ 776288 w 776288"/>
                  <a:gd name="connsiteY10" fmla="*/ 414503 h 674688"/>
                  <a:gd name="connsiteX11" fmla="*/ 732685 w 776288"/>
                  <a:gd name="connsiteY11" fmla="*/ 503608 h 674688"/>
                  <a:gd name="connsiteX12" fmla="*/ 669066 w 776288"/>
                  <a:gd name="connsiteY12" fmla="*/ 547091 h 674688"/>
                  <a:gd name="connsiteX13" fmla="*/ 674785 w 776288"/>
                  <a:gd name="connsiteY13" fmla="*/ 499331 h 674688"/>
                  <a:gd name="connsiteX14" fmla="*/ 659059 w 776288"/>
                  <a:gd name="connsiteY14" fmla="*/ 483648 h 674688"/>
                  <a:gd name="connsiteX15" fmla="*/ 643333 w 776288"/>
                  <a:gd name="connsiteY15" fmla="*/ 499331 h 674688"/>
                  <a:gd name="connsiteX16" fmla="*/ 596155 w 776288"/>
                  <a:gd name="connsiteY16" fmla="*/ 622651 h 674688"/>
                  <a:gd name="connsiteX17" fmla="*/ 574711 w 776288"/>
                  <a:gd name="connsiteY17" fmla="*/ 641898 h 674688"/>
                  <a:gd name="connsiteX18" fmla="*/ 471777 w 776288"/>
                  <a:gd name="connsiteY18" fmla="*/ 674688 h 674688"/>
                  <a:gd name="connsiteX19" fmla="*/ 383855 w 776288"/>
                  <a:gd name="connsiteY19" fmla="*/ 651165 h 674688"/>
                  <a:gd name="connsiteX20" fmla="*/ 375992 w 776288"/>
                  <a:gd name="connsiteY20" fmla="*/ 646888 h 674688"/>
                  <a:gd name="connsiteX21" fmla="*/ 318092 w 776288"/>
                  <a:gd name="connsiteY21" fmla="*/ 573466 h 674688"/>
                  <a:gd name="connsiteX22" fmla="*/ 390289 w 776288"/>
                  <a:gd name="connsiteY22" fmla="*/ 521429 h 674688"/>
                  <a:gd name="connsiteX23" fmla="*/ 386000 w 776288"/>
                  <a:gd name="connsiteY23" fmla="*/ 500044 h 674688"/>
                  <a:gd name="connsiteX24" fmla="*/ 363841 w 776288"/>
                  <a:gd name="connsiteY24" fmla="*/ 504321 h 674688"/>
                  <a:gd name="connsiteX25" fmla="*/ 306655 w 776288"/>
                  <a:gd name="connsiteY25" fmla="*/ 543527 h 674688"/>
                  <a:gd name="connsiteX26" fmla="*/ 238033 w 776288"/>
                  <a:gd name="connsiteY26" fmla="*/ 531408 h 674688"/>
                  <a:gd name="connsiteX27" fmla="*/ 215874 w 776288"/>
                  <a:gd name="connsiteY27" fmla="*/ 535685 h 674688"/>
                  <a:gd name="connsiteX28" fmla="*/ 220878 w 776288"/>
                  <a:gd name="connsiteY28" fmla="*/ 557070 h 674688"/>
                  <a:gd name="connsiteX29" fmla="*/ 285926 w 776288"/>
                  <a:gd name="connsiteY29" fmla="*/ 577030 h 674688"/>
                  <a:gd name="connsiteX30" fmla="*/ 335963 w 776288"/>
                  <a:gd name="connsiteY30" fmla="*/ 654016 h 674688"/>
                  <a:gd name="connsiteX31" fmla="*/ 265911 w 776288"/>
                  <a:gd name="connsiteY31" fmla="*/ 670411 h 674688"/>
                  <a:gd name="connsiteX32" fmla="*/ 168696 w 776288"/>
                  <a:gd name="connsiteY32" fmla="*/ 636195 h 674688"/>
                  <a:gd name="connsiteX33" fmla="*/ 125093 w 776288"/>
                  <a:gd name="connsiteY33" fmla="*/ 572753 h 674688"/>
                  <a:gd name="connsiteX34" fmla="*/ 122233 w 776288"/>
                  <a:gd name="connsiteY34" fmla="*/ 562773 h 674688"/>
                  <a:gd name="connsiteX35" fmla="*/ 117945 w 776288"/>
                  <a:gd name="connsiteY35" fmla="*/ 529983 h 674688"/>
                  <a:gd name="connsiteX36" fmla="*/ 137245 w 776288"/>
                  <a:gd name="connsiteY36" fmla="*/ 457986 h 674688"/>
                  <a:gd name="connsiteX37" fmla="*/ 130811 w 776288"/>
                  <a:gd name="connsiteY37" fmla="*/ 436601 h 674688"/>
                  <a:gd name="connsiteX38" fmla="*/ 109367 w 776288"/>
                  <a:gd name="connsiteY38" fmla="*/ 442304 h 674688"/>
                  <a:gd name="connsiteX39" fmla="*/ 86493 w 776288"/>
                  <a:gd name="connsiteY39" fmla="*/ 529983 h 674688"/>
                  <a:gd name="connsiteX40" fmla="*/ 87208 w 776288"/>
                  <a:gd name="connsiteY40" fmla="*/ 542101 h 674688"/>
                  <a:gd name="connsiteX41" fmla="*/ 0 w 776288"/>
                  <a:gd name="connsiteY41" fmla="*/ 447294 h 674688"/>
                  <a:gd name="connsiteX42" fmla="*/ 28593 w 776288"/>
                  <a:gd name="connsiteY42" fmla="*/ 381000 h 674688"/>
                  <a:gd name="connsiteX43" fmla="*/ 471777 w 776288"/>
                  <a:gd name="connsiteY43" fmla="*/ 0 h 674688"/>
                  <a:gd name="connsiteX44" fmla="*/ 572566 w 776288"/>
                  <a:gd name="connsiteY44" fmla="*/ 31365 h 674688"/>
                  <a:gd name="connsiteX45" fmla="*/ 643333 w 776288"/>
                  <a:gd name="connsiteY45" fmla="*/ 174645 h 674688"/>
                  <a:gd name="connsiteX46" fmla="*/ 659059 w 776288"/>
                  <a:gd name="connsiteY46" fmla="*/ 190327 h 674688"/>
                  <a:gd name="connsiteX47" fmla="*/ 674785 w 776288"/>
                  <a:gd name="connsiteY47" fmla="*/ 174645 h 674688"/>
                  <a:gd name="connsiteX48" fmla="*/ 669066 w 776288"/>
                  <a:gd name="connsiteY48" fmla="*/ 126885 h 674688"/>
                  <a:gd name="connsiteX49" fmla="*/ 776288 w 776288"/>
                  <a:gd name="connsiteY49" fmla="*/ 258046 h 674688"/>
                  <a:gd name="connsiteX50" fmla="*/ 741262 w 776288"/>
                  <a:gd name="connsiteY50" fmla="*/ 293688 h 674688"/>
                  <a:gd name="connsiteX51" fmla="*/ 306655 w 776288"/>
                  <a:gd name="connsiteY51" fmla="*/ 293688 h 674688"/>
                  <a:gd name="connsiteX52" fmla="*/ 268770 w 776288"/>
                  <a:gd name="connsiteY52" fmla="*/ 269452 h 674688"/>
                  <a:gd name="connsiteX53" fmla="*/ 239463 w 776288"/>
                  <a:gd name="connsiteY53" fmla="*/ 152547 h 674688"/>
                  <a:gd name="connsiteX54" fmla="*/ 229456 w 776288"/>
                  <a:gd name="connsiteY54" fmla="*/ 132587 h 674688"/>
                  <a:gd name="connsiteX55" fmla="*/ 209441 w 776288"/>
                  <a:gd name="connsiteY55" fmla="*/ 142567 h 674688"/>
                  <a:gd name="connsiteX56" fmla="*/ 246611 w 776288"/>
                  <a:gd name="connsiteY56" fmla="*/ 292262 h 674688"/>
                  <a:gd name="connsiteX57" fmla="*/ 248041 w 776288"/>
                  <a:gd name="connsiteY57" fmla="*/ 293688 h 674688"/>
                  <a:gd name="connsiteX58" fmla="*/ 28593 w 776288"/>
                  <a:gd name="connsiteY58" fmla="*/ 293688 h 674688"/>
                  <a:gd name="connsiteX59" fmla="*/ 0 w 776288"/>
                  <a:gd name="connsiteY59" fmla="*/ 227394 h 674688"/>
                  <a:gd name="connsiteX60" fmla="*/ 89352 w 776288"/>
                  <a:gd name="connsiteY60" fmla="*/ 131875 h 674688"/>
                  <a:gd name="connsiteX61" fmla="*/ 90067 w 776288"/>
                  <a:gd name="connsiteY61" fmla="*/ 131875 h 674688"/>
                  <a:gd name="connsiteX62" fmla="*/ 89352 w 776288"/>
                  <a:gd name="connsiteY62" fmla="*/ 142567 h 674688"/>
                  <a:gd name="connsiteX63" fmla="*/ 111511 w 776288"/>
                  <a:gd name="connsiteY63" fmla="*/ 229533 h 674688"/>
                  <a:gd name="connsiteX64" fmla="*/ 125808 w 776288"/>
                  <a:gd name="connsiteY64" fmla="*/ 237374 h 674688"/>
                  <a:gd name="connsiteX65" fmla="*/ 132956 w 776288"/>
                  <a:gd name="connsiteY65" fmla="*/ 235949 h 674688"/>
                  <a:gd name="connsiteX66" fmla="*/ 139389 w 776288"/>
                  <a:gd name="connsiteY66" fmla="*/ 214563 h 674688"/>
                  <a:gd name="connsiteX67" fmla="*/ 120804 w 776288"/>
                  <a:gd name="connsiteY67" fmla="*/ 142567 h 674688"/>
                  <a:gd name="connsiteX68" fmla="*/ 136530 w 776288"/>
                  <a:gd name="connsiteY68" fmla="*/ 76273 h 674688"/>
                  <a:gd name="connsiteX69" fmla="*/ 168696 w 776288"/>
                  <a:gd name="connsiteY69" fmla="*/ 38493 h 674688"/>
                  <a:gd name="connsiteX70" fmla="*/ 265911 w 776288"/>
                  <a:gd name="connsiteY70" fmla="*/ 4277 h 674688"/>
                  <a:gd name="connsiteX71" fmla="*/ 340967 w 776288"/>
                  <a:gd name="connsiteY71" fmla="*/ 23524 h 674688"/>
                  <a:gd name="connsiteX72" fmla="*/ 350259 w 776288"/>
                  <a:gd name="connsiteY72" fmla="*/ 27801 h 674688"/>
                  <a:gd name="connsiteX73" fmla="*/ 403870 w 776288"/>
                  <a:gd name="connsiteY73" fmla="*/ 129023 h 674688"/>
                  <a:gd name="connsiteX74" fmla="*/ 365985 w 776288"/>
                  <a:gd name="connsiteY74" fmla="*/ 127598 h 674688"/>
                  <a:gd name="connsiteX75" fmla="*/ 352404 w 776288"/>
                  <a:gd name="connsiteY75" fmla="*/ 145418 h 674688"/>
                  <a:gd name="connsiteX76" fmla="*/ 370274 w 776288"/>
                  <a:gd name="connsiteY76" fmla="*/ 158962 h 674688"/>
                  <a:gd name="connsiteX77" fmla="*/ 472492 w 776288"/>
                  <a:gd name="connsiteY77" fmla="*/ 237374 h 674688"/>
                  <a:gd name="connsiteX78" fmla="*/ 488218 w 776288"/>
                  <a:gd name="connsiteY78" fmla="*/ 250918 h 674688"/>
                  <a:gd name="connsiteX79" fmla="*/ 490363 w 776288"/>
                  <a:gd name="connsiteY79" fmla="*/ 250918 h 674688"/>
                  <a:gd name="connsiteX80" fmla="*/ 503944 w 776288"/>
                  <a:gd name="connsiteY80" fmla="*/ 233097 h 674688"/>
                  <a:gd name="connsiteX81" fmla="*/ 436037 w 776288"/>
                  <a:gd name="connsiteY81" fmla="*/ 139003 h 674688"/>
                  <a:gd name="connsiteX82" fmla="*/ 388144 w 776288"/>
                  <a:gd name="connsiteY82" fmla="*/ 20672 h 674688"/>
                  <a:gd name="connsiteX83" fmla="*/ 471777 w 776288"/>
                  <a:gd name="connsiteY83" fmla="*/ 0 h 67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776288" h="674688">
                    <a:moveTo>
                      <a:pt x="28593" y="381000"/>
                    </a:moveTo>
                    <a:cubicBezTo>
                      <a:pt x="28593" y="381000"/>
                      <a:pt x="28593" y="381000"/>
                      <a:pt x="448189" y="381000"/>
                    </a:cubicBezTo>
                    <a:cubicBezTo>
                      <a:pt x="463200" y="385990"/>
                      <a:pt x="477496" y="394544"/>
                      <a:pt x="489648" y="405949"/>
                    </a:cubicBezTo>
                    <a:cubicBezTo>
                      <a:pt x="521100" y="435888"/>
                      <a:pt x="532537" y="481510"/>
                      <a:pt x="518955" y="522854"/>
                    </a:cubicBezTo>
                    <a:cubicBezTo>
                      <a:pt x="516096" y="531408"/>
                      <a:pt x="521100" y="539962"/>
                      <a:pt x="528963" y="542814"/>
                    </a:cubicBezTo>
                    <a:cubicBezTo>
                      <a:pt x="530392" y="543527"/>
                      <a:pt x="532537" y="543527"/>
                      <a:pt x="533966" y="543527"/>
                    </a:cubicBezTo>
                    <a:cubicBezTo>
                      <a:pt x="540400" y="543527"/>
                      <a:pt x="546833" y="539249"/>
                      <a:pt x="548977" y="532834"/>
                    </a:cubicBezTo>
                    <a:cubicBezTo>
                      <a:pt x="566848" y="480084"/>
                      <a:pt x="551837" y="421632"/>
                      <a:pt x="511092" y="383139"/>
                    </a:cubicBezTo>
                    <a:cubicBezTo>
                      <a:pt x="510377" y="382426"/>
                      <a:pt x="509663" y="381713"/>
                      <a:pt x="508948" y="381000"/>
                    </a:cubicBezTo>
                    <a:cubicBezTo>
                      <a:pt x="508948" y="381000"/>
                      <a:pt x="508948" y="381000"/>
                      <a:pt x="743407" y="381000"/>
                    </a:cubicBezTo>
                    <a:cubicBezTo>
                      <a:pt x="764136" y="383139"/>
                      <a:pt x="776288" y="395257"/>
                      <a:pt x="776288" y="414503"/>
                    </a:cubicBezTo>
                    <a:cubicBezTo>
                      <a:pt x="776288" y="441591"/>
                      <a:pt x="760562" y="474382"/>
                      <a:pt x="732685" y="503608"/>
                    </a:cubicBezTo>
                    <a:cubicBezTo>
                      <a:pt x="712670" y="524280"/>
                      <a:pt x="690511" y="539249"/>
                      <a:pt x="669066" y="547091"/>
                    </a:cubicBezTo>
                    <a:cubicBezTo>
                      <a:pt x="672640" y="532121"/>
                      <a:pt x="674785" y="515726"/>
                      <a:pt x="674785" y="499331"/>
                    </a:cubicBezTo>
                    <a:cubicBezTo>
                      <a:pt x="674785" y="490777"/>
                      <a:pt x="667636" y="483648"/>
                      <a:pt x="659059" y="483648"/>
                    </a:cubicBezTo>
                    <a:cubicBezTo>
                      <a:pt x="649766" y="483648"/>
                      <a:pt x="643333" y="490777"/>
                      <a:pt x="643333" y="499331"/>
                    </a:cubicBezTo>
                    <a:cubicBezTo>
                      <a:pt x="643333" y="547091"/>
                      <a:pt x="625462" y="590574"/>
                      <a:pt x="596155" y="622651"/>
                    </a:cubicBezTo>
                    <a:cubicBezTo>
                      <a:pt x="589722" y="629780"/>
                      <a:pt x="582574" y="636195"/>
                      <a:pt x="574711" y="641898"/>
                    </a:cubicBezTo>
                    <a:cubicBezTo>
                      <a:pt x="544688" y="663283"/>
                      <a:pt x="508948" y="674688"/>
                      <a:pt x="471777" y="674688"/>
                    </a:cubicBezTo>
                    <a:cubicBezTo>
                      <a:pt x="440326" y="674688"/>
                      <a:pt x="410303" y="666134"/>
                      <a:pt x="383855" y="651165"/>
                    </a:cubicBezTo>
                    <a:cubicBezTo>
                      <a:pt x="383855" y="651165"/>
                      <a:pt x="383855" y="651165"/>
                      <a:pt x="375992" y="646888"/>
                    </a:cubicBezTo>
                    <a:cubicBezTo>
                      <a:pt x="350974" y="629067"/>
                      <a:pt x="330959" y="603405"/>
                      <a:pt x="318092" y="573466"/>
                    </a:cubicBezTo>
                    <a:cubicBezTo>
                      <a:pt x="348115" y="565624"/>
                      <a:pt x="373848" y="547804"/>
                      <a:pt x="390289" y="521429"/>
                    </a:cubicBezTo>
                    <a:cubicBezTo>
                      <a:pt x="395292" y="514300"/>
                      <a:pt x="393148" y="504321"/>
                      <a:pt x="386000" y="500044"/>
                    </a:cubicBezTo>
                    <a:cubicBezTo>
                      <a:pt x="378852" y="495054"/>
                      <a:pt x="368844" y="497192"/>
                      <a:pt x="363841" y="504321"/>
                    </a:cubicBezTo>
                    <a:cubicBezTo>
                      <a:pt x="350974" y="524993"/>
                      <a:pt x="330244" y="538537"/>
                      <a:pt x="306655" y="543527"/>
                    </a:cubicBezTo>
                    <a:cubicBezTo>
                      <a:pt x="282352" y="549229"/>
                      <a:pt x="258048" y="544239"/>
                      <a:pt x="238033" y="531408"/>
                    </a:cubicBezTo>
                    <a:cubicBezTo>
                      <a:pt x="230170" y="526418"/>
                      <a:pt x="220878" y="528557"/>
                      <a:pt x="215874" y="535685"/>
                    </a:cubicBezTo>
                    <a:cubicBezTo>
                      <a:pt x="210870" y="542814"/>
                      <a:pt x="213015" y="552793"/>
                      <a:pt x="220878" y="557070"/>
                    </a:cubicBezTo>
                    <a:cubicBezTo>
                      <a:pt x="240178" y="569901"/>
                      <a:pt x="263052" y="577030"/>
                      <a:pt x="285926" y="577030"/>
                    </a:cubicBezTo>
                    <a:cubicBezTo>
                      <a:pt x="297363" y="606969"/>
                      <a:pt x="314518" y="632631"/>
                      <a:pt x="335963" y="654016"/>
                    </a:cubicBezTo>
                    <a:cubicBezTo>
                      <a:pt x="314518" y="664708"/>
                      <a:pt x="290930" y="670411"/>
                      <a:pt x="265911" y="670411"/>
                    </a:cubicBezTo>
                    <a:cubicBezTo>
                      <a:pt x="230170" y="670411"/>
                      <a:pt x="195859" y="658293"/>
                      <a:pt x="168696" y="636195"/>
                    </a:cubicBezTo>
                    <a:cubicBezTo>
                      <a:pt x="147967" y="619087"/>
                      <a:pt x="132956" y="596989"/>
                      <a:pt x="125093" y="572753"/>
                    </a:cubicBezTo>
                    <a:cubicBezTo>
                      <a:pt x="125093" y="572753"/>
                      <a:pt x="125093" y="572753"/>
                      <a:pt x="122233" y="562773"/>
                    </a:cubicBezTo>
                    <a:cubicBezTo>
                      <a:pt x="119374" y="552081"/>
                      <a:pt x="117945" y="541388"/>
                      <a:pt x="117945" y="529983"/>
                    </a:cubicBezTo>
                    <a:cubicBezTo>
                      <a:pt x="117945" y="504321"/>
                      <a:pt x="124378" y="480084"/>
                      <a:pt x="137245" y="457986"/>
                    </a:cubicBezTo>
                    <a:cubicBezTo>
                      <a:pt x="141533" y="450858"/>
                      <a:pt x="138674" y="440878"/>
                      <a:pt x="130811" y="436601"/>
                    </a:cubicBezTo>
                    <a:cubicBezTo>
                      <a:pt x="123663" y="432324"/>
                      <a:pt x="113656" y="435176"/>
                      <a:pt x="109367" y="442304"/>
                    </a:cubicBezTo>
                    <a:cubicBezTo>
                      <a:pt x="94356" y="469392"/>
                      <a:pt x="86493" y="499331"/>
                      <a:pt x="86493" y="529983"/>
                    </a:cubicBezTo>
                    <a:cubicBezTo>
                      <a:pt x="86493" y="534260"/>
                      <a:pt x="87208" y="537824"/>
                      <a:pt x="87208" y="542101"/>
                    </a:cubicBezTo>
                    <a:cubicBezTo>
                      <a:pt x="37171" y="534972"/>
                      <a:pt x="0" y="494341"/>
                      <a:pt x="0" y="447294"/>
                    </a:cubicBezTo>
                    <a:cubicBezTo>
                      <a:pt x="0" y="423057"/>
                      <a:pt x="10722" y="398821"/>
                      <a:pt x="28593" y="381000"/>
                    </a:cubicBezTo>
                    <a:close/>
                    <a:moveTo>
                      <a:pt x="471777" y="0"/>
                    </a:moveTo>
                    <a:cubicBezTo>
                      <a:pt x="508233" y="0"/>
                      <a:pt x="543259" y="10693"/>
                      <a:pt x="572566" y="31365"/>
                    </a:cubicBezTo>
                    <a:cubicBezTo>
                      <a:pt x="615455" y="64155"/>
                      <a:pt x="643333" y="116192"/>
                      <a:pt x="643333" y="174645"/>
                    </a:cubicBezTo>
                    <a:cubicBezTo>
                      <a:pt x="643333" y="183199"/>
                      <a:pt x="649766" y="190327"/>
                      <a:pt x="659059" y="190327"/>
                    </a:cubicBezTo>
                    <a:cubicBezTo>
                      <a:pt x="667636" y="190327"/>
                      <a:pt x="674785" y="183199"/>
                      <a:pt x="674785" y="174645"/>
                    </a:cubicBezTo>
                    <a:cubicBezTo>
                      <a:pt x="674785" y="158249"/>
                      <a:pt x="672640" y="142567"/>
                      <a:pt x="669066" y="126885"/>
                    </a:cubicBezTo>
                    <a:cubicBezTo>
                      <a:pt x="724107" y="146844"/>
                      <a:pt x="776288" y="208861"/>
                      <a:pt x="776288" y="258046"/>
                    </a:cubicBezTo>
                    <a:cubicBezTo>
                      <a:pt x="776288" y="276580"/>
                      <a:pt x="758418" y="290837"/>
                      <a:pt x="741262" y="293688"/>
                    </a:cubicBezTo>
                    <a:cubicBezTo>
                      <a:pt x="741262" y="293688"/>
                      <a:pt x="741262" y="293688"/>
                      <a:pt x="306655" y="293688"/>
                    </a:cubicBezTo>
                    <a:cubicBezTo>
                      <a:pt x="293074" y="288698"/>
                      <a:pt x="279493" y="280144"/>
                      <a:pt x="268770" y="269452"/>
                    </a:cubicBezTo>
                    <a:cubicBezTo>
                      <a:pt x="236604" y="240226"/>
                      <a:pt x="225167" y="193891"/>
                      <a:pt x="239463" y="152547"/>
                    </a:cubicBezTo>
                    <a:cubicBezTo>
                      <a:pt x="241607" y="144706"/>
                      <a:pt x="237318" y="135439"/>
                      <a:pt x="229456" y="132587"/>
                    </a:cubicBezTo>
                    <a:cubicBezTo>
                      <a:pt x="220878" y="130449"/>
                      <a:pt x="212300" y="134726"/>
                      <a:pt x="209441" y="142567"/>
                    </a:cubicBezTo>
                    <a:cubicBezTo>
                      <a:pt x="191570" y="195317"/>
                      <a:pt x="206581" y="254482"/>
                      <a:pt x="246611" y="292262"/>
                    </a:cubicBezTo>
                    <a:cubicBezTo>
                      <a:pt x="247326" y="292975"/>
                      <a:pt x="248041" y="292975"/>
                      <a:pt x="248041" y="293688"/>
                    </a:cubicBezTo>
                    <a:lnTo>
                      <a:pt x="28593" y="293688"/>
                    </a:lnTo>
                    <a:cubicBezTo>
                      <a:pt x="10722" y="275867"/>
                      <a:pt x="0" y="251631"/>
                      <a:pt x="0" y="227394"/>
                    </a:cubicBezTo>
                    <a:cubicBezTo>
                      <a:pt x="0" y="179635"/>
                      <a:pt x="38600" y="138290"/>
                      <a:pt x="89352" y="131875"/>
                    </a:cubicBezTo>
                    <a:cubicBezTo>
                      <a:pt x="89352" y="131875"/>
                      <a:pt x="89352" y="131875"/>
                      <a:pt x="90067" y="131875"/>
                    </a:cubicBezTo>
                    <a:cubicBezTo>
                      <a:pt x="89352" y="135439"/>
                      <a:pt x="89352" y="139003"/>
                      <a:pt x="89352" y="142567"/>
                    </a:cubicBezTo>
                    <a:cubicBezTo>
                      <a:pt x="89352" y="173219"/>
                      <a:pt x="97215" y="203158"/>
                      <a:pt x="111511" y="229533"/>
                    </a:cubicBezTo>
                    <a:cubicBezTo>
                      <a:pt x="114370" y="234523"/>
                      <a:pt x="120089" y="237374"/>
                      <a:pt x="125808" y="237374"/>
                    </a:cubicBezTo>
                    <a:cubicBezTo>
                      <a:pt x="127952" y="237374"/>
                      <a:pt x="130811" y="236661"/>
                      <a:pt x="132956" y="235949"/>
                    </a:cubicBezTo>
                    <a:cubicBezTo>
                      <a:pt x="140819" y="231671"/>
                      <a:pt x="143678" y="221692"/>
                      <a:pt x="139389" y="214563"/>
                    </a:cubicBezTo>
                    <a:cubicBezTo>
                      <a:pt x="127237" y="192466"/>
                      <a:pt x="120804" y="167516"/>
                      <a:pt x="120804" y="142567"/>
                    </a:cubicBezTo>
                    <a:cubicBezTo>
                      <a:pt x="120804" y="118331"/>
                      <a:pt x="126522" y="96233"/>
                      <a:pt x="136530" y="76273"/>
                    </a:cubicBezTo>
                    <a:cubicBezTo>
                      <a:pt x="145107" y="62017"/>
                      <a:pt x="155830" y="49186"/>
                      <a:pt x="168696" y="38493"/>
                    </a:cubicBezTo>
                    <a:cubicBezTo>
                      <a:pt x="195859" y="16395"/>
                      <a:pt x="230170" y="4277"/>
                      <a:pt x="265911" y="4277"/>
                    </a:cubicBezTo>
                    <a:cubicBezTo>
                      <a:pt x="293074" y="4277"/>
                      <a:pt x="318092" y="10693"/>
                      <a:pt x="340967" y="23524"/>
                    </a:cubicBezTo>
                    <a:cubicBezTo>
                      <a:pt x="340967" y="23524"/>
                      <a:pt x="340967" y="23524"/>
                      <a:pt x="350259" y="27801"/>
                    </a:cubicBezTo>
                    <a:cubicBezTo>
                      <a:pt x="379566" y="52037"/>
                      <a:pt x="400296" y="87679"/>
                      <a:pt x="403870" y="129023"/>
                    </a:cubicBezTo>
                    <a:cubicBezTo>
                      <a:pt x="391718" y="126172"/>
                      <a:pt x="378852" y="126172"/>
                      <a:pt x="365985" y="127598"/>
                    </a:cubicBezTo>
                    <a:cubicBezTo>
                      <a:pt x="357407" y="129023"/>
                      <a:pt x="351689" y="136864"/>
                      <a:pt x="352404" y="145418"/>
                    </a:cubicBezTo>
                    <a:cubicBezTo>
                      <a:pt x="353833" y="153972"/>
                      <a:pt x="361696" y="159675"/>
                      <a:pt x="370274" y="158962"/>
                    </a:cubicBezTo>
                    <a:cubicBezTo>
                      <a:pt x="420311" y="152547"/>
                      <a:pt x="466059" y="187476"/>
                      <a:pt x="472492" y="237374"/>
                    </a:cubicBezTo>
                    <a:cubicBezTo>
                      <a:pt x="473922" y="245215"/>
                      <a:pt x="480355" y="250918"/>
                      <a:pt x="488218" y="250918"/>
                    </a:cubicBezTo>
                    <a:cubicBezTo>
                      <a:pt x="488933" y="250918"/>
                      <a:pt x="489648" y="250918"/>
                      <a:pt x="490363" y="250918"/>
                    </a:cubicBezTo>
                    <a:cubicBezTo>
                      <a:pt x="498940" y="249492"/>
                      <a:pt x="504659" y="241651"/>
                      <a:pt x="503944" y="233097"/>
                    </a:cubicBezTo>
                    <a:cubicBezTo>
                      <a:pt x="498226" y="191040"/>
                      <a:pt x="471777" y="156824"/>
                      <a:pt x="436037" y="139003"/>
                    </a:cubicBezTo>
                    <a:cubicBezTo>
                      <a:pt x="435322" y="93382"/>
                      <a:pt x="416737" y="52037"/>
                      <a:pt x="388144" y="20672"/>
                    </a:cubicBezTo>
                    <a:cubicBezTo>
                      <a:pt x="413163" y="7128"/>
                      <a:pt x="442470" y="0"/>
                      <a:pt x="471777"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5" name="Freeform 25">
                <a:extLst>
                  <a:ext uri="{FF2B5EF4-FFF2-40B4-BE49-F238E27FC236}">
                    <a16:creationId xmlns:a16="http://schemas.microsoft.com/office/drawing/2014/main" id="{91F9AC4F-C20D-45F3-9621-2E712ABD6257}"/>
                  </a:ext>
                </a:extLst>
              </p:cNvPr>
              <p:cNvSpPr>
                <a:spLocks/>
              </p:cNvSpPr>
              <p:nvPr/>
            </p:nvSpPr>
            <p:spPr bwMode="auto">
              <a:xfrm>
                <a:off x="5443538" y="2770188"/>
                <a:ext cx="1303338" cy="1303338"/>
              </a:xfrm>
              <a:custGeom>
                <a:avLst/>
                <a:gdLst>
                  <a:gd name="connsiteX0" fmla="*/ 650451 w 1303338"/>
                  <a:gd name="connsiteY0" fmla="*/ 1149350 h 1303338"/>
                  <a:gd name="connsiteX1" fmla="*/ 666750 w 1303338"/>
                  <a:gd name="connsiteY1" fmla="*/ 1165107 h 1303338"/>
                  <a:gd name="connsiteX2" fmla="*/ 666009 w 1303338"/>
                  <a:gd name="connsiteY2" fmla="*/ 1287581 h 1303338"/>
                  <a:gd name="connsiteX3" fmla="*/ 649710 w 1303338"/>
                  <a:gd name="connsiteY3" fmla="*/ 1303338 h 1303338"/>
                  <a:gd name="connsiteX4" fmla="*/ 633412 w 1303338"/>
                  <a:gd name="connsiteY4" fmla="*/ 1287581 h 1303338"/>
                  <a:gd name="connsiteX5" fmla="*/ 634153 w 1303338"/>
                  <a:gd name="connsiteY5" fmla="*/ 1165107 h 1303338"/>
                  <a:gd name="connsiteX6" fmla="*/ 650451 w 1303338"/>
                  <a:gd name="connsiteY6" fmla="*/ 1149350 h 1303338"/>
                  <a:gd name="connsiteX7" fmla="*/ 911429 w 1303338"/>
                  <a:gd name="connsiteY7" fmla="*/ 1082351 h 1303338"/>
                  <a:gd name="connsiteX8" fmla="*/ 921042 w 1303338"/>
                  <a:gd name="connsiteY8" fmla="*/ 1089479 h 1303338"/>
                  <a:gd name="connsiteX9" fmla="*/ 981565 w 1303338"/>
                  <a:gd name="connsiteY9" fmla="*/ 1195679 h 1303338"/>
                  <a:gd name="connsiteX10" fmla="*/ 975869 w 1303338"/>
                  <a:gd name="connsiteY10" fmla="*/ 1217062 h 1303338"/>
                  <a:gd name="connsiteX11" fmla="*/ 968037 w 1303338"/>
                  <a:gd name="connsiteY11" fmla="*/ 1219200 h 1303338"/>
                  <a:gd name="connsiteX12" fmla="*/ 954508 w 1303338"/>
                  <a:gd name="connsiteY12" fmla="*/ 1211360 h 1303338"/>
                  <a:gd name="connsiteX13" fmla="*/ 893272 w 1303338"/>
                  <a:gd name="connsiteY13" fmla="*/ 1105159 h 1303338"/>
                  <a:gd name="connsiteX14" fmla="*/ 899680 w 1303338"/>
                  <a:gd name="connsiteY14" fmla="*/ 1083777 h 1303338"/>
                  <a:gd name="connsiteX15" fmla="*/ 911429 w 1303338"/>
                  <a:gd name="connsiteY15" fmla="*/ 1082351 h 1303338"/>
                  <a:gd name="connsiteX16" fmla="*/ 389179 w 1303338"/>
                  <a:gd name="connsiteY16" fmla="*/ 1080778 h 1303338"/>
                  <a:gd name="connsiteX17" fmla="*/ 401194 w 1303338"/>
                  <a:gd name="connsiteY17" fmla="*/ 1082211 h 1303338"/>
                  <a:gd name="connsiteX18" fmla="*/ 406890 w 1303338"/>
                  <a:gd name="connsiteY18" fmla="*/ 1103703 h 1303338"/>
                  <a:gd name="connsiteX19" fmla="*/ 345655 w 1303338"/>
                  <a:gd name="connsiteY19" fmla="*/ 1209732 h 1303338"/>
                  <a:gd name="connsiteX20" fmla="*/ 332126 w 1303338"/>
                  <a:gd name="connsiteY20" fmla="*/ 1217612 h 1303338"/>
                  <a:gd name="connsiteX21" fmla="*/ 324293 w 1303338"/>
                  <a:gd name="connsiteY21" fmla="*/ 1215463 h 1303338"/>
                  <a:gd name="connsiteX22" fmla="*/ 318597 w 1303338"/>
                  <a:gd name="connsiteY22" fmla="*/ 1193971 h 1303338"/>
                  <a:gd name="connsiteX23" fmla="*/ 379833 w 1303338"/>
                  <a:gd name="connsiteY23" fmla="*/ 1087942 h 1303338"/>
                  <a:gd name="connsiteX24" fmla="*/ 389179 w 1303338"/>
                  <a:gd name="connsiteY24" fmla="*/ 1080778 h 1303338"/>
                  <a:gd name="connsiteX25" fmla="*/ 1091713 w 1303338"/>
                  <a:gd name="connsiteY25" fmla="*/ 894992 h 1303338"/>
                  <a:gd name="connsiteX26" fmla="*/ 1103890 w 1303338"/>
                  <a:gd name="connsiteY26" fmla="*/ 896401 h 1303338"/>
                  <a:gd name="connsiteX27" fmla="*/ 1210685 w 1303338"/>
                  <a:gd name="connsiteY27" fmla="*/ 956965 h 1303338"/>
                  <a:gd name="connsiteX28" fmla="*/ 1216458 w 1303338"/>
                  <a:gd name="connsiteY28" fmla="*/ 978092 h 1303338"/>
                  <a:gd name="connsiteX29" fmla="*/ 1202747 w 1303338"/>
                  <a:gd name="connsiteY29" fmla="*/ 985838 h 1303338"/>
                  <a:gd name="connsiteX30" fmla="*/ 1194810 w 1303338"/>
                  <a:gd name="connsiteY30" fmla="*/ 983725 h 1303338"/>
                  <a:gd name="connsiteX31" fmla="*/ 1088015 w 1303338"/>
                  <a:gd name="connsiteY31" fmla="*/ 923161 h 1303338"/>
                  <a:gd name="connsiteX32" fmla="*/ 1082242 w 1303338"/>
                  <a:gd name="connsiteY32" fmla="*/ 902034 h 1303338"/>
                  <a:gd name="connsiteX33" fmla="*/ 1091713 w 1303338"/>
                  <a:gd name="connsiteY33" fmla="*/ 894992 h 1303338"/>
                  <a:gd name="connsiteX34" fmla="*/ 210191 w 1303338"/>
                  <a:gd name="connsiteY34" fmla="*/ 892044 h 1303338"/>
                  <a:gd name="connsiteX35" fmla="*/ 219556 w 1303338"/>
                  <a:gd name="connsiteY35" fmla="*/ 899743 h 1303338"/>
                  <a:gd name="connsiteX36" fmla="*/ 213848 w 1303338"/>
                  <a:gd name="connsiteY36" fmla="*/ 921228 h 1303338"/>
                  <a:gd name="connsiteX37" fmla="*/ 108238 w 1303338"/>
                  <a:gd name="connsiteY37" fmla="*/ 982102 h 1303338"/>
                  <a:gd name="connsiteX38" fmla="*/ 100389 w 1303338"/>
                  <a:gd name="connsiteY38" fmla="*/ 984250 h 1303338"/>
                  <a:gd name="connsiteX39" fmla="*/ 86831 w 1303338"/>
                  <a:gd name="connsiteY39" fmla="*/ 975656 h 1303338"/>
                  <a:gd name="connsiteX40" fmla="*/ 92540 w 1303338"/>
                  <a:gd name="connsiteY40" fmla="*/ 954171 h 1303338"/>
                  <a:gd name="connsiteX41" fmla="*/ 198149 w 1303338"/>
                  <a:gd name="connsiteY41" fmla="*/ 894013 h 1303338"/>
                  <a:gd name="connsiteX42" fmla="*/ 210191 w 1303338"/>
                  <a:gd name="connsiteY42" fmla="*/ 892044 h 1303338"/>
                  <a:gd name="connsiteX43" fmla="*/ 282187 w 1303338"/>
                  <a:gd name="connsiteY43" fmla="*/ 666750 h 1303338"/>
                  <a:gd name="connsiteX44" fmla="*/ 277908 w 1303338"/>
                  <a:gd name="connsiteY44" fmla="*/ 671027 h 1303338"/>
                  <a:gd name="connsiteX45" fmla="*/ 263642 w 1303338"/>
                  <a:gd name="connsiteY45" fmla="*/ 685995 h 1303338"/>
                  <a:gd name="connsiteX46" fmla="*/ 236537 w 1303338"/>
                  <a:gd name="connsiteY46" fmla="*/ 760834 h 1303338"/>
                  <a:gd name="connsiteX47" fmla="*/ 349949 w 1303338"/>
                  <a:gd name="connsiteY47" fmla="*/ 883428 h 1303338"/>
                  <a:gd name="connsiteX48" fmla="*/ 356369 w 1303338"/>
                  <a:gd name="connsiteY48" fmla="*/ 886279 h 1303338"/>
                  <a:gd name="connsiteX49" fmla="*/ 362789 w 1303338"/>
                  <a:gd name="connsiteY49" fmla="*/ 894832 h 1303338"/>
                  <a:gd name="connsiteX50" fmla="*/ 414858 w 1303338"/>
                  <a:gd name="connsiteY50" fmla="*/ 971097 h 1303338"/>
                  <a:gd name="connsiteX51" fmla="*/ 529697 w 1303338"/>
                  <a:gd name="connsiteY51" fmla="*/ 1011724 h 1303338"/>
                  <a:gd name="connsiteX52" fmla="*/ 541823 w 1303338"/>
                  <a:gd name="connsiteY52" fmla="*/ 1011724 h 1303338"/>
                  <a:gd name="connsiteX53" fmla="*/ 618144 w 1303338"/>
                  <a:gd name="connsiteY53" fmla="*/ 988915 h 1303338"/>
                  <a:gd name="connsiteX54" fmla="*/ 623137 w 1303338"/>
                  <a:gd name="connsiteY54" fmla="*/ 987490 h 1303338"/>
                  <a:gd name="connsiteX55" fmla="*/ 625990 w 1303338"/>
                  <a:gd name="connsiteY55" fmla="*/ 987490 h 1303338"/>
                  <a:gd name="connsiteX56" fmla="*/ 633837 w 1303338"/>
                  <a:gd name="connsiteY56" fmla="*/ 988915 h 1303338"/>
                  <a:gd name="connsiteX57" fmla="*/ 735123 w 1303338"/>
                  <a:gd name="connsiteY57" fmla="*/ 1016000 h 1303338"/>
                  <a:gd name="connsiteX58" fmla="*/ 853528 w 1303338"/>
                  <a:gd name="connsiteY58" fmla="*/ 978224 h 1303338"/>
                  <a:gd name="connsiteX59" fmla="*/ 917011 w 1303338"/>
                  <a:gd name="connsiteY59" fmla="*/ 900534 h 1303338"/>
                  <a:gd name="connsiteX60" fmla="*/ 922003 w 1303338"/>
                  <a:gd name="connsiteY60" fmla="*/ 894119 h 1303338"/>
                  <a:gd name="connsiteX61" fmla="*/ 927710 w 1303338"/>
                  <a:gd name="connsiteY61" fmla="*/ 891268 h 1303338"/>
                  <a:gd name="connsiteX62" fmla="*/ 1015444 w 1303338"/>
                  <a:gd name="connsiteY62" fmla="*/ 836386 h 1303338"/>
                  <a:gd name="connsiteX63" fmla="*/ 1066800 w 1303338"/>
                  <a:gd name="connsiteY63" fmla="*/ 728047 h 1303338"/>
                  <a:gd name="connsiteX64" fmla="*/ 1032563 w 1303338"/>
                  <a:gd name="connsiteY64" fmla="*/ 673165 h 1303338"/>
                  <a:gd name="connsiteX65" fmla="*/ 1007598 w 1303338"/>
                  <a:gd name="connsiteY65" fmla="*/ 666750 h 1303338"/>
                  <a:gd name="connsiteX66" fmla="*/ 989766 w 1303338"/>
                  <a:gd name="connsiteY66" fmla="*/ 666750 h 1303338"/>
                  <a:gd name="connsiteX67" fmla="*/ 726564 w 1303338"/>
                  <a:gd name="connsiteY67" fmla="*/ 666750 h 1303338"/>
                  <a:gd name="connsiteX68" fmla="*/ 657375 w 1303338"/>
                  <a:gd name="connsiteY68" fmla="*/ 666750 h 1303338"/>
                  <a:gd name="connsiteX69" fmla="*/ 324271 w 1303338"/>
                  <a:gd name="connsiteY69" fmla="*/ 666750 h 1303338"/>
                  <a:gd name="connsiteX70" fmla="*/ 282187 w 1303338"/>
                  <a:gd name="connsiteY70" fmla="*/ 666750 h 1303338"/>
                  <a:gd name="connsiteX71" fmla="*/ 1165107 w 1303338"/>
                  <a:gd name="connsiteY71" fmla="*/ 636587 h 1303338"/>
                  <a:gd name="connsiteX72" fmla="*/ 1287581 w 1303338"/>
                  <a:gd name="connsiteY72" fmla="*/ 636587 h 1303338"/>
                  <a:gd name="connsiteX73" fmla="*/ 1303338 w 1303338"/>
                  <a:gd name="connsiteY73" fmla="*/ 652462 h 1303338"/>
                  <a:gd name="connsiteX74" fmla="*/ 1287581 w 1303338"/>
                  <a:gd name="connsiteY74" fmla="*/ 668337 h 1303338"/>
                  <a:gd name="connsiteX75" fmla="*/ 1165107 w 1303338"/>
                  <a:gd name="connsiteY75" fmla="*/ 668337 h 1303338"/>
                  <a:gd name="connsiteX76" fmla="*/ 1149350 w 1303338"/>
                  <a:gd name="connsiteY76" fmla="*/ 652462 h 1303338"/>
                  <a:gd name="connsiteX77" fmla="*/ 1165107 w 1303338"/>
                  <a:gd name="connsiteY77" fmla="*/ 636587 h 1303338"/>
                  <a:gd name="connsiteX78" fmla="*/ 15757 w 1303338"/>
                  <a:gd name="connsiteY78" fmla="*/ 633412 h 1303338"/>
                  <a:gd name="connsiteX79" fmla="*/ 138231 w 1303338"/>
                  <a:gd name="connsiteY79" fmla="*/ 634118 h 1303338"/>
                  <a:gd name="connsiteX80" fmla="*/ 153988 w 1303338"/>
                  <a:gd name="connsiteY80" fmla="*/ 649640 h 1303338"/>
                  <a:gd name="connsiteX81" fmla="*/ 138231 w 1303338"/>
                  <a:gd name="connsiteY81" fmla="*/ 665162 h 1303338"/>
                  <a:gd name="connsiteX82" fmla="*/ 15757 w 1303338"/>
                  <a:gd name="connsiteY82" fmla="*/ 664457 h 1303338"/>
                  <a:gd name="connsiteX83" fmla="*/ 0 w 1303338"/>
                  <a:gd name="connsiteY83" fmla="*/ 648934 h 1303338"/>
                  <a:gd name="connsiteX84" fmla="*/ 15757 w 1303338"/>
                  <a:gd name="connsiteY84" fmla="*/ 633412 h 1303338"/>
                  <a:gd name="connsiteX85" fmla="*/ 1207141 w 1303338"/>
                  <a:gd name="connsiteY85" fmla="*/ 318777 h 1303338"/>
                  <a:gd name="connsiteX86" fmla="*/ 1216507 w 1303338"/>
                  <a:gd name="connsiteY86" fmla="*/ 325938 h 1303338"/>
                  <a:gd name="connsiteX87" fmla="*/ 1210798 w 1303338"/>
                  <a:gd name="connsiteY87" fmla="*/ 347423 h 1303338"/>
                  <a:gd name="connsiteX88" fmla="*/ 1105189 w 1303338"/>
                  <a:gd name="connsiteY88" fmla="*/ 409014 h 1303338"/>
                  <a:gd name="connsiteX89" fmla="*/ 1097340 w 1303338"/>
                  <a:gd name="connsiteY89" fmla="*/ 411162 h 1303338"/>
                  <a:gd name="connsiteX90" fmla="*/ 1083782 w 1303338"/>
                  <a:gd name="connsiteY90" fmla="*/ 403284 h 1303338"/>
                  <a:gd name="connsiteX91" fmla="*/ 1089490 w 1303338"/>
                  <a:gd name="connsiteY91" fmla="*/ 381799 h 1303338"/>
                  <a:gd name="connsiteX92" fmla="*/ 1195100 w 1303338"/>
                  <a:gd name="connsiteY92" fmla="*/ 320209 h 1303338"/>
                  <a:gd name="connsiteX93" fmla="*/ 1207141 w 1303338"/>
                  <a:gd name="connsiteY93" fmla="*/ 318777 h 1303338"/>
                  <a:gd name="connsiteX94" fmla="*/ 98498 w 1303338"/>
                  <a:gd name="connsiteY94" fmla="*/ 315333 h 1303338"/>
                  <a:gd name="connsiteX95" fmla="*/ 110539 w 1303338"/>
                  <a:gd name="connsiteY95" fmla="*/ 317034 h 1303338"/>
                  <a:gd name="connsiteX96" fmla="*/ 215435 w 1303338"/>
                  <a:gd name="connsiteY96" fmla="*/ 378624 h 1303338"/>
                  <a:gd name="connsiteX97" fmla="*/ 221143 w 1303338"/>
                  <a:gd name="connsiteY97" fmla="*/ 400109 h 1303338"/>
                  <a:gd name="connsiteX98" fmla="*/ 207585 w 1303338"/>
                  <a:gd name="connsiteY98" fmla="*/ 407987 h 1303338"/>
                  <a:gd name="connsiteX99" fmla="*/ 199736 w 1303338"/>
                  <a:gd name="connsiteY99" fmla="*/ 405839 h 1303338"/>
                  <a:gd name="connsiteX100" fmla="*/ 94127 w 1303338"/>
                  <a:gd name="connsiteY100" fmla="*/ 344248 h 1303338"/>
                  <a:gd name="connsiteX101" fmla="*/ 89132 w 1303338"/>
                  <a:gd name="connsiteY101" fmla="*/ 322763 h 1303338"/>
                  <a:gd name="connsiteX102" fmla="*/ 98498 w 1303338"/>
                  <a:gd name="connsiteY102" fmla="*/ 315333 h 1303338"/>
                  <a:gd name="connsiteX103" fmla="*/ 735123 w 1303338"/>
                  <a:gd name="connsiteY103" fmla="*/ 284162 h 1303338"/>
                  <a:gd name="connsiteX104" fmla="*/ 713011 w 1303338"/>
                  <a:gd name="connsiteY104" fmla="*/ 285594 h 1303338"/>
                  <a:gd name="connsiteX105" fmla="*/ 633837 w 1303338"/>
                  <a:gd name="connsiteY105" fmla="*/ 310654 h 1303338"/>
                  <a:gd name="connsiteX106" fmla="*/ 629557 w 1303338"/>
                  <a:gd name="connsiteY106" fmla="*/ 312802 h 1303338"/>
                  <a:gd name="connsiteX107" fmla="*/ 618144 w 1303338"/>
                  <a:gd name="connsiteY107" fmla="*/ 310654 h 1303338"/>
                  <a:gd name="connsiteX108" fmla="*/ 529697 w 1303338"/>
                  <a:gd name="connsiteY108" fmla="*/ 288458 h 1303338"/>
                  <a:gd name="connsiteX109" fmla="*/ 414858 w 1303338"/>
                  <a:gd name="connsiteY109" fmla="*/ 329270 h 1303338"/>
                  <a:gd name="connsiteX110" fmla="*/ 362789 w 1303338"/>
                  <a:gd name="connsiteY110" fmla="*/ 405881 h 1303338"/>
                  <a:gd name="connsiteX111" fmla="*/ 358509 w 1303338"/>
                  <a:gd name="connsiteY111" fmla="*/ 412325 h 1303338"/>
                  <a:gd name="connsiteX112" fmla="*/ 349949 w 1303338"/>
                  <a:gd name="connsiteY112" fmla="*/ 416621 h 1303338"/>
                  <a:gd name="connsiteX113" fmla="*/ 236537 w 1303338"/>
                  <a:gd name="connsiteY113" fmla="*/ 540489 h 1303338"/>
                  <a:gd name="connsiteX114" fmla="*/ 263642 w 1303338"/>
                  <a:gd name="connsiteY114" fmla="*/ 615668 h 1303338"/>
                  <a:gd name="connsiteX115" fmla="*/ 277908 w 1303338"/>
                  <a:gd name="connsiteY115" fmla="*/ 630704 h 1303338"/>
                  <a:gd name="connsiteX116" fmla="*/ 282187 w 1303338"/>
                  <a:gd name="connsiteY116" fmla="*/ 635000 h 1303338"/>
                  <a:gd name="connsiteX117" fmla="*/ 324271 w 1303338"/>
                  <a:gd name="connsiteY117" fmla="*/ 635000 h 1303338"/>
                  <a:gd name="connsiteX118" fmla="*/ 555375 w 1303338"/>
                  <a:gd name="connsiteY118" fmla="*/ 635000 h 1303338"/>
                  <a:gd name="connsiteX119" fmla="*/ 628844 w 1303338"/>
                  <a:gd name="connsiteY119" fmla="*/ 635000 h 1303338"/>
                  <a:gd name="connsiteX120" fmla="*/ 989052 w 1303338"/>
                  <a:gd name="connsiteY120" fmla="*/ 635000 h 1303338"/>
                  <a:gd name="connsiteX121" fmla="*/ 1006171 w 1303338"/>
                  <a:gd name="connsiteY121" fmla="*/ 635000 h 1303338"/>
                  <a:gd name="connsiteX122" fmla="*/ 1032563 w 1303338"/>
                  <a:gd name="connsiteY122" fmla="*/ 625692 h 1303338"/>
                  <a:gd name="connsiteX123" fmla="*/ 1066800 w 1303338"/>
                  <a:gd name="connsiteY123" fmla="*/ 571277 h 1303338"/>
                  <a:gd name="connsiteX124" fmla="*/ 927710 w 1303338"/>
                  <a:gd name="connsiteY124" fmla="*/ 409461 h 1303338"/>
                  <a:gd name="connsiteX125" fmla="*/ 921290 w 1303338"/>
                  <a:gd name="connsiteY125" fmla="*/ 405881 h 1303338"/>
                  <a:gd name="connsiteX126" fmla="*/ 917011 w 1303338"/>
                  <a:gd name="connsiteY126" fmla="*/ 400153 h 1303338"/>
                  <a:gd name="connsiteX127" fmla="*/ 853528 w 1303338"/>
                  <a:gd name="connsiteY127" fmla="*/ 322110 h 1303338"/>
                  <a:gd name="connsiteX128" fmla="*/ 735123 w 1303338"/>
                  <a:gd name="connsiteY128" fmla="*/ 284162 h 1303338"/>
                  <a:gd name="connsiteX129" fmla="*/ 735191 w 1303338"/>
                  <a:gd name="connsiteY129" fmla="*/ 254000 h 1303338"/>
                  <a:gd name="connsiteX130" fmla="*/ 872254 w 1303338"/>
                  <a:gd name="connsiteY130" fmla="*/ 297542 h 1303338"/>
                  <a:gd name="connsiteX131" fmla="*/ 942927 w 1303338"/>
                  <a:gd name="connsiteY131" fmla="*/ 381771 h 1303338"/>
                  <a:gd name="connsiteX132" fmla="*/ 1047866 w 1303338"/>
                  <a:gd name="connsiteY132" fmla="*/ 452438 h 1303338"/>
                  <a:gd name="connsiteX133" fmla="*/ 1098550 w 1303338"/>
                  <a:gd name="connsiteY133" fmla="*/ 571643 h 1303338"/>
                  <a:gd name="connsiteX134" fmla="*/ 1055004 w 1303338"/>
                  <a:gd name="connsiteY134" fmla="*/ 649448 h 1303338"/>
                  <a:gd name="connsiteX135" fmla="*/ 1098550 w 1303338"/>
                  <a:gd name="connsiteY135" fmla="*/ 727966 h 1303338"/>
                  <a:gd name="connsiteX136" fmla="*/ 1038585 w 1303338"/>
                  <a:gd name="connsiteY136" fmla="*/ 857878 h 1303338"/>
                  <a:gd name="connsiteX137" fmla="*/ 942927 w 1303338"/>
                  <a:gd name="connsiteY137" fmla="*/ 919979 h 1303338"/>
                  <a:gd name="connsiteX138" fmla="*/ 872254 w 1303338"/>
                  <a:gd name="connsiteY138" fmla="*/ 1003494 h 1303338"/>
                  <a:gd name="connsiteX139" fmla="*/ 735191 w 1303338"/>
                  <a:gd name="connsiteY139" fmla="*/ 1047750 h 1303338"/>
                  <a:gd name="connsiteX140" fmla="*/ 625969 w 1303338"/>
                  <a:gd name="connsiteY140" fmla="*/ 1020626 h 1303338"/>
                  <a:gd name="connsiteX141" fmla="*/ 529597 w 1303338"/>
                  <a:gd name="connsiteY141" fmla="*/ 1043467 h 1303338"/>
                  <a:gd name="connsiteX142" fmla="*/ 394676 w 1303338"/>
                  <a:gd name="connsiteY142" fmla="*/ 995642 h 1303338"/>
                  <a:gd name="connsiteX143" fmla="*/ 335425 w 1303338"/>
                  <a:gd name="connsiteY143" fmla="*/ 913555 h 1303338"/>
                  <a:gd name="connsiteX144" fmla="*/ 204787 w 1303338"/>
                  <a:gd name="connsiteY144" fmla="*/ 760801 h 1303338"/>
                  <a:gd name="connsiteX145" fmla="*/ 252616 w 1303338"/>
                  <a:gd name="connsiteY145" fmla="*/ 650875 h 1303338"/>
                  <a:gd name="connsiteX146" fmla="*/ 204787 w 1303338"/>
                  <a:gd name="connsiteY146" fmla="*/ 540949 h 1303338"/>
                  <a:gd name="connsiteX147" fmla="*/ 335425 w 1303338"/>
                  <a:gd name="connsiteY147" fmla="*/ 388195 h 1303338"/>
                  <a:gd name="connsiteX148" fmla="*/ 394676 w 1303338"/>
                  <a:gd name="connsiteY148" fmla="*/ 306108 h 1303338"/>
                  <a:gd name="connsiteX149" fmla="*/ 529597 w 1303338"/>
                  <a:gd name="connsiteY149" fmla="*/ 258283 h 1303338"/>
                  <a:gd name="connsiteX150" fmla="*/ 625969 w 1303338"/>
                  <a:gd name="connsiteY150" fmla="*/ 280411 h 1303338"/>
                  <a:gd name="connsiteX151" fmla="*/ 735191 w 1303338"/>
                  <a:gd name="connsiteY151" fmla="*/ 254000 h 1303338"/>
                  <a:gd name="connsiteX152" fmla="*/ 965440 w 1303338"/>
                  <a:gd name="connsiteY152" fmla="*/ 85579 h 1303338"/>
                  <a:gd name="connsiteX153" fmla="*/ 977456 w 1303338"/>
                  <a:gd name="connsiteY153" fmla="*/ 87539 h 1303338"/>
                  <a:gd name="connsiteX154" fmla="*/ 983152 w 1303338"/>
                  <a:gd name="connsiteY154" fmla="*/ 108922 h 1303338"/>
                  <a:gd name="connsiteX155" fmla="*/ 921917 w 1303338"/>
                  <a:gd name="connsiteY155" fmla="*/ 214410 h 1303338"/>
                  <a:gd name="connsiteX156" fmla="*/ 908388 w 1303338"/>
                  <a:gd name="connsiteY156" fmla="*/ 222250 h 1303338"/>
                  <a:gd name="connsiteX157" fmla="*/ 900555 w 1303338"/>
                  <a:gd name="connsiteY157" fmla="*/ 220112 h 1303338"/>
                  <a:gd name="connsiteX158" fmla="*/ 894859 w 1303338"/>
                  <a:gd name="connsiteY158" fmla="*/ 198729 h 1303338"/>
                  <a:gd name="connsiteX159" fmla="*/ 956095 w 1303338"/>
                  <a:gd name="connsiteY159" fmla="*/ 93241 h 1303338"/>
                  <a:gd name="connsiteX160" fmla="*/ 965440 w 1303338"/>
                  <a:gd name="connsiteY160" fmla="*/ 85579 h 1303338"/>
                  <a:gd name="connsiteX161" fmla="*/ 341312 w 1303338"/>
                  <a:gd name="connsiteY161" fmla="*/ 83813 h 1303338"/>
                  <a:gd name="connsiteX162" fmla="*/ 350837 w 1303338"/>
                  <a:gd name="connsiteY162" fmla="*/ 90940 h 1303338"/>
                  <a:gd name="connsiteX163" fmla="*/ 410103 w 1303338"/>
                  <a:gd name="connsiteY163" fmla="*/ 197141 h 1303338"/>
                  <a:gd name="connsiteX164" fmla="*/ 404459 w 1303338"/>
                  <a:gd name="connsiteY164" fmla="*/ 218524 h 1303338"/>
                  <a:gd name="connsiteX165" fmla="*/ 396698 w 1303338"/>
                  <a:gd name="connsiteY165" fmla="*/ 220662 h 1303338"/>
                  <a:gd name="connsiteX166" fmla="*/ 383292 w 1303338"/>
                  <a:gd name="connsiteY166" fmla="*/ 212109 h 1303338"/>
                  <a:gd name="connsiteX167" fmla="*/ 323320 w 1303338"/>
                  <a:gd name="connsiteY167" fmla="*/ 106621 h 1303338"/>
                  <a:gd name="connsiteX168" fmla="*/ 329670 w 1303338"/>
                  <a:gd name="connsiteY168" fmla="*/ 85238 h 1303338"/>
                  <a:gd name="connsiteX169" fmla="*/ 341312 w 1303338"/>
                  <a:gd name="connsiteY169" fmla="*/ 83813 h 1303338"/>
                  <a:gd name="connsiteX170" fmla="*/ 651668 w 1303338"/>
                  <a:gd name="connsiteY170" fmla="*/ 0 h 1303338"/>
                  <a:gd name="connsiteX171" fmla="*/ 666750 w 1303338"/>
                  <a:gd name="connsiteY171" fmla="*/ 15757 h 1303338"/>
                  <a:gd name="connsiteX172" fmla="*/ 666750 w 1303338"/>
                  <a:gd name="connsiteY172" fmla="*/ 138231 h 1303338"/>
                  <a:gd name="connsiteX173" fmla="*/ 651668 w 1303338"/>
                  <a:gd name="connsiteY173" fmla="*/ 153988 h 1303338"/>
                  <a:gd name="connsiteX174" fmla="*/ 636587 w 1303338"/>
                  <a:gd name="connsiteY174" fmla="*/ 138231 h 1303338"/>
                  <a:gd name="connsiteX175" fmla="*/ 636587 w 1303338"/>
                  <a:gd name="connsiteY175" fmla="*/ 15757 h 1303338"/>
                  <a:gd name="connsiteX176" fmla="*/ 651668 w 1303338"/>
                  <a:gd name="connsiteY176" fmla="*/ 0 h 130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303338" h="1303338">
                    <a:moveTo>
                      <a:pt x="650451" y="1149350"/>
                    </a:moveTo>
                    <a:cubicBezTo>
                      <a:pt x="659341" y="1149350"/>
                      <a:pt x="666750" y="1156512"/>
                      <a:pt x="666750" y="1165107"/>
                    </a:cubicBezTo>
                    <a:cubicBezTo>
                      <a:pt x="666750" y="1165107"/>
                      <a:pt x="666750" y="1165107"/>
                      <a:pt x="666009" y="1287581"/>
                    </a:cubicBezTo>
                    <a:cubicBezTo>
                      <a:pt x="666009" y="1296176"/>
                      <a:pt x="659341" y="1303338"/>
                      <a:pt x="649710" y="1303338"/>
                    </a:cubicBezTo>
                    <a:cubicBezTo>
                      <a:pt x="640820" y="1303338"/>
                      <a:pt x="633412" y="1296176"/>
                      <a:pt x="633412" y="1287581"/>
                    </a:cubicBezTo>
                    <a:cubicBezTo>
                      <a:pt x="633412" y="1287581"/>
                      <a:pt x="633412" y="1287581"/>
                      <a:pt x="634153" y="1165107"/>
                    </a:cubicBezTo>
                    <a:cubicBezTo>
                      <a:pt x="634153" y="1156512"/>
                      <a:pt x="641561" y="1149350"/>
                      <a:pt x="650451" y="1149350"/>
                    </a:cubicBezTo>
                    <a:close/>
                    <a:moveTo>
                      <a:pt x="911429" y="1082351"/>
                    </a:moveTo>
                    <a:cubicBezTo>
                      <a:pt x="915345" y="1083420"/>
                      <a:pt x="918906" y="1085915"/>
                      <a:pt x="921042" y="1089479"/>
                    </a:cubicBezTo>
                    <a:lnTo>
                      <a:pt x="981565" y="1195679"/>
                    </a:lnTo>
                    <a:cubicBezTo>
                      <a:pt x="985838" y="1202807"/>
                      <a:pt x="982990" y="1212785"/>
                      <a:pt x="975869" y="1217062"/>
                    </a:cubicBezTo>
                    <a:cubicBezTo>
                      <a:pt x="973021" y="1218487"/>
                      <a:pt x="970173" y="1219200"/>
                      <a:pt x="968037" y="1219200"/>
                    </a:cubicBezTo>
                    <a:cubicBezTo>
                      <a:pt x="962340" y="1219200"/>
                      <a:pt x="957356" y="1216349"/>
                      <a:pt x="954508" y="1211360"/>
                    </a:cubicBezTo>
                    <a:cubicBezTo>
                      <a:pt x="954508" y="1211360"/>
                      <a:pt x="954508" y="1211360"/>
                      <a:pt x="893272" y="1105159"/>
                    </a:cubicBezTo>
                    <a:cubicBezTo>
                      <a:pt x="889000" y="1098032"/>
                      <a:pt x="891848" y="1088053"/>
                      <a:pt x="899680" y="1083777"/>
                    </a:cubicBezTo>
                    <a:cubicBezTo>
                      <a:pt x="903241" y="1081638"/>
                      <a:pt x="907513" y="1081282"/>
                      <a:pt x="911429" y="1082351"/>
                    </a:cubicBezTo>
                    <a:close/>
                    <a:moveTo>
                      <a:pt x="389179" y="1080778"/>
                    </a:moveTo>
                    <a:cubicBezTo>
                      <a:pt x="393006" y="1079703"/>
                      <a:pt x="397278" y="1080061"/>
                      <a:pt x="401194" y="1082211"/>
                    </a:cubicBezTo>
                    <a:cubicBezTo>
                      <a:pt x="408315" y="1086509"/>
                      <a:pt x="411163" y="1096539"/>
                      <a:pt x="406890" y="1103703"/>
                    </a:cubicBezTo>
                    <a:cubicBezTo>
                      <a:pt x="406890" y="1103703"/>
                      <a:pt x="406890" y="1103703"/>
                      <a:pt x="345655" y="1209732"/>
                    </a:cubicBezTo>
                    <a:cubicBezTo>
                      <a:pt x="342807" y="1214746"/>
                      <a:pt x="337110" y="1217612"/>
                      <a:pt x="332126" y="1217612"/>
                    </a:cubicBezTo>
                    <a:cubicBezTo>
                      <a:pt x="329278" y="1217612"/>
                      <a:pt x="326430" y="1216896"/>
                      <a:pt x="324293" y="1215463"/>
                    </a:cubicBezTo>
                    <a:cubicBezTo>
                      <a:pt x="316461" y="1211164"/>
                      <a:pt x="314325" y="1201851"/>
                      <a:pt x="318597" y="1193971"/>
                    </a:cubicBezTo>
                    <a:cubicBezTo>
                      <a:pt x="318597" y="1193971"/>
                      <a:pt x="318597" y="1193971"/>
                      <a:pt x="379833" y="1087942"/>
                    </a:cubicBezTo>
                    <a:cubicBezTo>
                      <a:pt x="381969" y="1084360"/>
                      <a:pt x="385351" y="1081852"/>
                      <a:pt x="389179" y="1080778"/>
                    </a:cubicBezTo>
                    <a:close/>
                    <a:moveTo>
                      <a:pt x="1091713" y="894992"/>
                    </a:moveTo>
                    <a:cubicBezTo>
                      <a:pt x="1095591" y="893936"/>
                      <a:pt x="1099921" y="894288"/>
                      <a:pt x="1103890" y="896401"/>
                    </a:cubicBezTo>
                    <a:cubicBezTo>
                      <a:pt x="1103890" y="896401"/>
                      <a:pt x="1103890" y="896401"/>
                      <a:pt x="1210685" y="956965"/>
                    </a:cubicBezTo>
                    <a:cubicBezTo>
                      <a:pt x="1217901" y="961190"/>
                      <a:pt x="1220787" y="971049"/>
                      <a:pt x="1216458" y="978092"/>
                    </a:cubicBezTo>
                    <a:cubicBezTo>
                      <a:pt x="1213571" y="983021"/>
                      <a:pt x="1207799" y="985838"/>
                      <a:pt x="1202747" y="985838"/>
                    </a:cubicBezTo>
                    <a:cubicBezTo>
                      <a:pt x="1199861" y="985838"/>
                      <a:pt x="1196975" y="985134"/>
                      <a:pt x="1194810" y="983725"/>
                    </a:cubicBezTo>
                    <a:cubicBezTo>
                      <a:pt x="1194810" y="983725"/>
                      <a:pt x="1194810" y="983725"/>
                      <a:pt x="1088015" y="923161"/>
                    </a:cubicBezTo>
                    <a:cubicBezTo>
                      <a:pt x="1080077" y="918936"/>
                      <a:pt x="1077912" y="909781"/>
                      <a:pt x="1082242" y="902034"/>
                    </a:cubicBezTo>
                    <a:cubicBezTo>
                      <a:pt x="1084407" y="898513"/>
                      <a:pt x="1087834" y="896048"/>
                      <a:pt x="1091713" y="894992"/>
                    </a:cubicBezTo>
                    <a:close/>
                    <a:moveTo>
                      <a:pt x="210191" y="892044"/>
                    </a:moveTo>
                    <a:cubicBezTo>
                      <a:pt x="214026" y="893118"/>
                      <a:pt x="217416" y="895804"/>
                      <a:pt x="219556" y="899743"/>
                    </a:cubicBezTo>
                    <a:cubicBezTo>
                      <a:pt x="223838" y="906904"/>
                      <a:pt x="221697" y="916931"/>
                      <a:pt x="213848" y="921228"/>
                    </a:cubicBezTo>
                    <a:cubicBezTo>
                      <a:pt x="213848" y="921228"/>
                      <a:pt x="213848" y="921228"/>
                      <a:pt x="108238" y="982102"/>
                    </a:cubicBezTo>
                    <a:cubicBezTo>
                      <a:pt x="105384" y="983534"/>
                      <a:pt x="102530" y="984250"/>
                      <a:pt x="100389" y="984250"/>
                    </a:cubicBezTo>
                    <a:cubicBezTo>
                      <a:pt x="94681" y="984250"/>
                      <a:pt x="89686" y="981385"/>
                      <a:pt x="86831" y="975656"/>
                    </a:cubicBezTo>
                    <a:cubicBezTo>
                      <a:pt x="82550" y="968494"/>
                      <a:pt x="84690" y="958468"/>
                      <a:pt x="92540" y="954171"/>
                    </a:cubicBezTo>
                    <a:cubicBezTo>
                      <a:pt x="92540" y="954171"/>
                      <a:pt x="92540" y="954171"/>
                      <a:pt x="198149" y="894013"/>
                    </a:cubicBezTo>
                    <a:cubicBezTo>
                      <a:pt x="202074" y="891507"/>
                      <a:pt x="206355" y="890970"/>
                      <a:pt x="210191" y="892044"/>
                    </a:cubicBezTo>
                    <a:close/>
                    <a:moveTo>
                      <a:pt x="282187" y="666750"/>
                    </a:moveTo>
                    <a:cubicBezTo>
                      <a:pt x="282187" y="666750"/>
                      <a:pt x="282187" y="666750"/>
                      <a:pt x="277908" y="671027"/>
                    </a:cubicBezTo>
                    <a:cubicBezTo>
                      <a:pt x="272915" y="675303"/>
                      <a:pt x="267922" y="680292"/>
                      <a:pt x="263642" y="685995"/>
                    </a:cubicBezTo>
                    <a:cubicBezTo>
                      <a:pt x="245810" y="707377"/>
                      <a:pt x="236537" y="733749"/>
                      <a:pt x="236537" y="760834"/>
                    </a:cubicBezTo>
                    <a:cubicBezTo>
                      <a:pt x="236537" y="822844"/>
                      <a:pt x="285041" y="875587"/>
                      <a:pt x="349949" y="883428"/>
                    </a:cubicBezTo>
                    <a:cubicBezTo>
                      <a:pt x="352089" y="884140"/>
                      <a:pt x="354229" y="884853"/>
                      <a:pt x="356369" y="886279"/>
                    </a:cubicBezTo>
                    <a:cubicBezTo>
                      <a:pt x="359222" y="887704"/>
                      <a:pt x="361362" y="891268"/>
                      <a:pt x="362789" y="894832"/>
                    </a:cubicBezTo>
                    <a:cubicBezTo>
                      <a:pt x="372061" y="924055"/>
                      <a:pt x="390607" y="950427"/>
                      <a:pt x="414858" y="971097"/>
                    </a:cubicBezTo>
                    <a:cubicBezTo>
                      <a:pt x="446956" y="997469"/>
                      <a:pt x="487613" y="1011724"/>
                      <a:pt x="529697" y="1011724"/>
                    </a:cubicBezTo>
                    <a:cubicBezTo>
                      <a:pt x="533977" y="1011724"/>
                      <a:pt x="537543" y="1011724"/>
                      <a:pt x="541823" y="1011724"/>
                    </a:cubicBezTo>
                    <a:cubicBezTo>
                      <a:pt x="568928" y="1009585"/>
                      <a:pt x="595319" y="1001745"/>
                      <a:pt x="618144" y="988915"/>
                    </a:cubicBezTo>
                    <a:cubicBezTo>
                      <a:pt x="619571" y="988203"/>
                      <a:pt x="621711" y="987490"/>
                      <a:pt x="623137" y="987490"/>
                    </a:cubicBezTo>
                    <a:cubicBezTo>
                      <a:pt x="623851" y="987490"/>
                      <a:pt x="625277" y="987490"/>
                      <a:pt x="625990" y="987490"/>
                    </a:cubicBezTo>
                    <a:cubicBezTo>
                      <a:pt x="628844" y="987490"/>
                      <a:pt x="630983" y="987490"/>
                      <a:pt x="633837" y="988915"/>
                    </a:cubicBezTo>
                    <a:cubicBezTo>
                      <a:pt x="663795" y="1006734"/>
                      <a:pt x="699459" y="1016000"/>
                      <a:pt x="735123" y="1016000"/>
                    </a:cubicBezTo>
                    <a:cubicBezTo>
                      <a:pt x="778633" y="1016000"/>
                      <a:pt x="819291" y="1002458"/>
                      <a:pt x="853528" y="978224"/>
                    </a:cubicBezTo>
                    <a:cubicBezTo>
                      <a:pt x="882060" y="958267"/>
                      <a:pt x="903458" y="931182"/>
                      <a:pt x="917011" y="900534"/>
                    </a:cubicBezTo>
                    <a:cubicBezTo>
                      <a:pt x="918437" y="897683"/>
                      <a:pt x="919864" y="895545"/>
                      <a:pt x="922003" y="894119"/>
                    </a:cubicBezTo>
                    <a:cubicBezTo>
                      <a:pt x="923430" y="892694"/>
                      <a:pt x="925570" y="891981"/>
                      <a:pt x="927710" y="891268"/>
                    </a:cubicBezTo>
                    <a:cubicBezTo>
                      <a:pt x="957668" y="884140"/>
                      <a:pt x="989052" y="864183"/>
                      <a:pt x="1015444" y="836386"/>
                    </a:cubicBezTo>
                    <a:cubicBezTo>
                      <a:pt x="1048255" y="802174"/>
                      <a:pt x="1066800" y="762259"/>
                      <a:pt x="1066800" y="728047"/>
                    </a:cubicBezTo>
                    <a:cubicBezTo>
                      <a:pt x="1066800" y="703101"/>
                      <a:pt x="1053961" y="683143"/>
                      <a:pt x="1032563" y="673165"/>
                    </a:cubicBezTo>
                    <a:cubicBezTo>
                      <a:pt x="1025430" y="669601"/>
                      <a:pt x="1016870" y="667463"/>
                      <a:pt x="1007598" y="666750"/>
                    </a:cubicBezTo>
                    <a:cubicBezTo>
                      <a:pt x="1007598" y="666750"/>
                      <a:pt x="1007598" y="666750"/>
                      <a:pt x="989766" y="666750"/>
                    </a:cubicBezTo>
                    <a:cubicBezTo>
                      <a:pt x="989766" y="666750"/>
                      <a:pt x="989766" y="666750"/>
                      <a:pt x="726564" y="666750"/>
                    </a:cubicBezTo>
                    <a:cubicBezTo>
                      <a:pt x="726564" y="666750"/>
                      <a:pt x="726564" y="666750"/>
                      <a:pt x="657375" y="666750"/>
                    </a:cubicBezTo>
                    <a:cubicBezTo>
                      <a:pt x="657375" y="666750"/>
                      <a:pt x="657375" y="666750"/>
                      <a:pt x="324271" y="666750"/>
                    </a:cubicBezTo>
                    <a:cubicBezTo>
                      <a:pt x="324271" y="666750"/>
                      <a:pt x="324271" y="666750"/>
                      <a:pt x="282187" y="666750"/>
                    </a:cubicBezTo>
                    <a:close/>
                    <a:moveTo>
                      <a:pt x="1165107" y="636587"/>
                    </a:moveTo>
                    <a:cubicBezTo>
                      <a:pt x="1165107" y="636587"/>
                      <a:pt x="1165107" y="636587"/>
                      <a:pt x="1287581" y="636587"/>
                    </a:cubicBezTo>
                    <a:cubicBezTo>
                      <a:pt x="1296176" y="636587"/>
                      <a:pt x="1303338" y="643803"/>
                      <a:pt x="1303338" y="652462"/>
                    </a:cubicBezTo>
                    <a:cubicBezTo>
                      <a:pt x="1303338" y="661121"/>
                      <a:pt x="1296176" y="668337"/>
                      <a:pt x="1287581" y="668337"/>
                    </a:cubicBezTo>
                    <a:cubicBezTo>
                      <a:pt x="1287581" y="668337"/>
                      <a:pt x="1287581" y="668337"/>
                      <a:pt x="1165107" y="668337"/>
                    </a:cubicBezTo>
                    <a:cubicBezTo>
                      <a:pt x="1156512" y="668337"/>
                      <a:pt x="1149350" y="661121"/>
                      <a:pt x="1149350" y="652462"/>
                    </a:cubicBezTo>
                    <a:cubicBezTo>
                      <a:pt x="1149350" y="643803"/>
                      <a:pt x="1156512" y="636587"/>
                      <a:pt x="1165107" y="636587"/>
                    </a:cubicBezTo>
                    <a:close/>
                    <a:moveTo>
                      <a:pt x="15757" y="633412"/>
                    </a:moveTo>
                    <a:cubicBezTo>
                      <a:pt x="15757" y="633412"/>
                      <a:pt x="15757" y="633412"/>
                      <a:pt x="138231" y="634118"/>
                    </a:cubicBezTo>
                    <a:cubicBezTo>
                      <a:pt x="146826" y="634118"/>
                      <a:pt x="153988" y="641173"/>
                      <a:pt x="153988" y="649640"/>
                    </a:cubicBezTo>
                    <a:cubicBezTo>
                      <a:pt x="153988" y="658107"/>
                      <a:pt x="146826" y="665162"/>
                      <a:pt x="138231" y="665162"/>
                    </a:cubicBezTo>
                    <a:cubicBezTo>
                      <a:pt x="138231" y="665162"/>
                      <a:pt x="138231" y="665162"/>
                      <a:pt x="15757" y="664457"/>
                    </a:cubicBezTo>
                    <a:cubicBezTo>
                      <a:pt x="7162" y="664457"/>
                      <a:pt x="0" y="657401"/>
                      <a:pt x="0" y="648934"/>
                    </a:cubicBezTo>
                    <a:cubicBezTo>
                      <a:pt x="0" y="640468"/>
                      <a:pt x="7162" y="633412"/>
                      <a:pt x="15757" y="633412"/>
                    </a:cubicBezTo>
                    <a:close/>
                    <a:moveTo>
                      <a:pt x="1207141" y="318777"/>
                    </a:moveTo>
                    <a:cubicBezTo>
                      <a:pt x="1210977" y="319851"/>
                      <a:pt x="1214366" y="322358"/>
                      <a:pt x="1216507" y="325938"/>
                    </a:cubicBezTo>
                    <a:cubicBezTo>
                      <a:pt x="1220788" y="333816"/>
                      <a:pt x="1218648" y="343126"/>
                      <a:pt x="1210798" y="347423"/>
                    </a:cubicBezTo>
                    <a:cubicBezTo>
                      <a:pt x="1210798" y="347423"/>
                      <a:pt x="1210798" y="347423"/>
                      <a:pt x="1105189" y="409014"/>
                    </a:cubicBezTo>
                    <a:cubicBezTo>
                      <a:pt x="1102335" y="410446"/>
                      <a:pt x="1100194" y="411162"/>
                      <a:pt x="1097340" y="411162"/>
                    </a:cubicBezTo>
                    <a:cubicBezTo>
                      <a:pt x="1091631" y="411162"/>
                      <a:pt x="1086636" y="408297"/>
                      <a:pt x="1083782" y="403284"/>
                    </a:cubicBezTo>
                    <a:cubicBezTo>
                      <a:pt x="1079500" y="395406"/>
                      <a:pt x="1081641" y="386096"/>
                      <a:pt x="1089490" y="381799"/>
                    </a:cubicBezTo>
                    <a:cubicBezTo>
                      <a:pt x="1089490" y="381799"/>
                      <a:pt x="1089490" y="381799"/>
                      <a:pt x="1195100" y="320209"/>
                    </a:cubicBezTo>
                    <a:cubicBezTo>
                      <a:pt x="1199024" y="318061"/>
                      <a:pt x="1203306" y="317703"/>
                      <a:pt x="1207141" y="318777"/>
                    </a:cubicBezTo>
                    <a:close/>
                    <a:moveTo>
                      <a:pt x="98498" y="315333"/>
                    </a:moveTo>
                    <a:cubicBezTo>
                      <a:pt x="102333" y="314348"/>
                      <a:pt x="106615" y="314885"/>
                      <a:pt x="110539" y="317034"/>
                    </a:cubicBezTo>
                    <a:cubicBezTo>
                      <a:pt x="110539" y="317034"/>
                      <a:pt x="110539" y="317034"/>
                      <a:pt x="215435" y="378624"/>
                    </a:cubicBezTo>
                    <a:cubicBezTo>
                      <a:pt x="223284" y="382921"/>
                      <a:pt x="225425" y="392948"/>
                      <a:pt x="221143" y="400109"/>
                    </a:cubicBezTo>
                    <a:cubicBezTo>
                      <a:pt x="218289" y="405122"/>
                      <a:pt x="213294" y="407987"/>
                      <a:pt x="207585" y="407987"/>
                    </a:cubicBezTo>
                    <a:cubicBezTo>
                      <a:pt x="204731" y="407987"/>
                      <a:pt x="202590" y="407271"/>
                      <a:pt x="199736" y="405839"/>
                    </a:cubicBezTo>
                    <a:cubicBezTo>
                      <a:pt x="199736" y="405839"/>
                      <a:pt x="199736" y="405839"/>
                      <a:pt x="94127" y="344248"/>
                    </a:cubicBezTo>
                    <a:cubicBezTo>
                      <a:pt x="86991" y="339951"/>
                      <a:pt x="84137" y="329925"/>
                      <a:pt x="89132" y="322763"/>
                    </a:cubicBezTo>
                    <a:cubicBezTo>
                      <a:pt x="91273" y="318825"/>
                      <a:pt x="94662" y="316318"/>
                      <a:pt x="98498" y="315333"/>
                    </a:cubicBezTo>
                    <a:close/>
                    <a:moveTo>
                      <a:pt x="735123" y="284162"/>
                    </a:moveTo>
                    <a:cubicBezTo>
                      <a:pt x="727277" y="284162"/>
                      <a:pt x="720144" y="284878"/>
                      <a:pt x="713011" y="285594"/>
                    </a:cubicBezTo>
                    <a:cubicBezTo>
                      <a:pt x="684480" y="288458"/>
                      <a:pt x="658088" y="297050"/>
                      <a:pt x="633837" y="310654"/>
                    </a:cubicBezTo>
                    <a:cubicBezTo>
                      <a:pt x="632410" y="311370"/>
                      <a:pt x="630983" y="312086"/>
                      <a:pt x="629557" y="312802"/>
                    </a:cubicBezTo>
                    <a:cubicBezTo>
                      <a:pt x="625277" y="313518"/>
                      <a:pt x="621711" y="312802"/>
                      <a:pt x="618144" y="310654"/>
                    </a:cubicBezTo>
                    <a:cubicBezTo>
                      <a:pt x="591753" y="296334"/>
                      <a:pt x="561082" y="288458"/>
                      <a:pt x="529697" y="288458"/>
                    </a:cubicBezTo>
                    <a:cubicBezTo>
                      <a:pt x="487613" y="288458"/>
                      <a:pt x="446956" y="302778"/>
                      <a:pt x="414858" y="329270"/>
                    </a:cubicBezTo>
                    <a:cubicBezTo>
                      <a:pt x="390607" y="349318"/>
                      <a:pt x="372061" y="376526"/>
                      <a:pt x="362789" y="405881"/>
                    </a:cubicBezTo>
                    <a:cubicBezTo>
                      <a:pt x="362075" y="408745"/>
                      <a:pt x="360649" y="410893"/>
                      <a:pt x="358509" y="412325"/>
                    </a:cubicBezTo>
                    <a:cubicBezTo>
                      <a:pt x="356369" y="414473"/>
                      <a:pt x="353516" y="416621"/>
                      <a:pt x="349949" y="416621"/>
                    </a:cubicBezTo>
                    <a:cubicBezTo>
                      <a:pt x="285041" y="425213"/>
                      <a:pt x="236537" y="478197"/>
                      <a:pt x="236537" y="540489"/>
                    </a:cubicBezTo>
                    <a:cubicBezTo>
                      <a:pt x="236537" y="567697"/>
                      <a:pt x="245810" y="594188"/>
                      <a:pt x="263642" y="615668"/>
                    </a:cubicBezTo>
                    <a:cubicBezTo>
                      <a:pt x="267922" y="620680"/>
                      <a:pt x="272915" y="626408"/>
                      <a:pt x="277908" y="630704"/>
                    </a:cubicBezTo>
                    <a:cubicBezTo>
                      <a:pt x="277908" y="630704"/>
                      <a:pt x="277908" y="630704"/>
                      <a:pt x="282187" y="635000"/>
                    </a:cubicBezTo>
                    <a:cubicBezTo>
                      <a:pt x="282187" y="635000"/>
                      <a:pt x="282187" y="635000"/>
                      <a:pt x="324271" y="635000"/>
                    </a:cubicBezTo>
                    <a:cubicBezTo>
                      <a:pt x="324271" y="635000"/>
                      <a:pt x="324271" y="635000"/>
                      <a:pt x="555375" y="635000"/>
                    </a:cubicBezTo>
                    <a:cubicBezTo>
                      <a:pt x="555375" y="635000"/>
                      <a:pt x="555375" y="635000"/>
                      <a:pt x="628844" y="635000"/>
                    </a:cubicBezTo>
                    <a:cubicBezTo>
                      <a:pt x="628844" y="635000"/>
                      <a:pt x="628844" y="635000"/>
                      <a:pt x="989052" y="635000"/>
                    </a:cubicBezTo>
                    <a:cubicBezTo>
                      <a:pt x="989052" y="635000"/>
                      <a:pt x="989052" y="635000"/>
                      <a:pt x="1006171" y="635000"/>
                    </a:cubicBezTo>
                    <a:cubicBezTo>
                      <a:pt x="1015444" y="633568"/>
                      <a:pt x="1024716" y="630704"/>
                      <a:pt x="1032563" y="625692"/>
                    </a:cubicBezTo>
                    <a:cubicBezTo>
                      <a:pt x="1051821" y="614952"/>
                      <a:pt x="1066800" y="595620"/>
                      <a:pt x="1066800" y="571277"/>
                    </a:cubicBezTo>
                    <a:cubicBezTo>
                      <a:pt x="1066800" y="506837"/>
                      <a:pt x="997612" y="426645"/>
                      <a:pt x="927710" y="409461"/>
                    </a:cubicBezTo>
                    <a:cubicBezTo>
                      <a:pt x="925570" y="408745"/>
                      <a:pt x="923430" y="407313"/>
                      <a:pt x="921290" y="405881"/>
                    </a:cubicBezTo>
                    <a:cubicBezTo>
                      <a:pt x="919864" y="404449"/>
                      <a:pt x="917724" y="402301"/>
                      <a:pt x="917011" y="400153"/>
                    </a:cubicBezTo>
                    <a:cubicBezTo>
                      <a:pt x="903458" y="369366"/>
                      <a:pt x="882060" y="342158"/>
                      <a:pt x="853528" y="322110"/>
                    </a:cubicBezTo>
                    <a:cubicBezTo>
                      <a:pt x="819291" y="297050"/>
                      <a:pt x="778633" y="284162"/>
                      <a:pt x="735123" y="284162"/>
                    </a:cubicBezTo>
                    <a:close/>
                    <a:moveTo>
                      <a:pt x="735191" y="254000"/>
                    </a:moveTo>
                    <a:cubicBezTo>
                      <a:pt x="785162" y="254000"/>
                      <a:pt x="832277" y="268990"/>
                      <a:pt x="872254" y="297542"/>
                    </a:cubicBezTo>
                    <a:cubicBezTo>
                      <a:pt x="902950" y="319670"/>
                      <a:pt x="927222" y="348222"/>
                      <a:pt x="942927" y="381771"/>
                    </a:cubicBezTo>
                    <a:cubicBezTo>
                      <a:pt x="980048" y="392478"/>
                      <a:pt x="1017883" y="418175"/>
                      <a:pt x="1047866" y="452438"/>
                    </a:cubicBezTo>
                    <a:cubicBezTo>
                      <a:pt x="1079990" y="489555"/>
                      <a:pt x="1098550" y="533097"/>
                      <a:pt x="1098550" y="571643"/>
                    </a:cubicBezTo>
                    <a:cubicBezTo>
                      <a:pt x="1098550" y="605905"/>
                      <a:pt x="1079990" y="633030"/>
                      <a:pt x="1055004" y="649448"/>
                    </a:cubicBezTo>
                    <a:cubicBezTo>
                      <a:pt x="1082131" y="665865"/>
                      <a:pt x="1098550" y="693703"/>
                      <a:pt x="1098550" y="727966"/>
                    </a:cubicBezTo>
                    <a:cubicBezTo>
                      <a:pt x="1098550" y="770080"/>
                      <a:pt x="1076420" y="817905"/>
                      <a:pt x="1038585" y="857878"/>
                    </a:cubicBezTo>
                    <a:cubicBezTo>
                      <a:pt x="1010031" y="887858"/>
                      <a:pt x="976479" y="909986"/>
                      <a:pt x="942927" y="919979"/>
                    </a:cubicBezTo>
                    <a:cubicBezTo>
                      <a:pt x="927222" y="952814"/>
                      <a:pt x="902950" y="982080"/>
                      <a:pt x="872254" y="1003494"/>
                    </a:cubicBezTo>
                    <a:cubicBezTo>
                      <a:pt x="832277" y="1032046"/>
                      <a:pt x="785162" y="1047750"/>
                      <a:pt x="735191" y="1047750"/>
                    </a:cubicBezTo>
                    <a:cubicBezTo>
                      <a:pt x="696642" y="1047750"/>
                      <a:pt x="658807" y="1038471"/>
                      <a:pt x="625969" y="1020626"/>
                    </a:cubicBezTo>
                    <a:cubicBezTo>
                      <a:pt x="596701" y="1035615"/>
                      <a:pt x="563149" y="1043467"/>
                      <a:pt x="529597" y="1043467"/>
                    </a:cubicBezTo>
                    <a:cubicBezTo>
                      <a:pt x="480340" y="1043467"/>
                      <a:pt x="432511" y="1026336"/>
                      <a:pt x="394676" y="995642"/>
                    </a:cubicBezTo>
                    <a:cubicBezTo>
                      <a:pt x="368263" y="973515"/>
                      <a:pt x="347561" y="944962"/>
                      <a:pt x="335425" y="913555"/>
                    </a:cubicBezTo>
                    <a:cubicBezTo>
                      <a:pt x="260469" y="899279"/>
                      <a:pt x="204787" y="835037"/>
                      <a:pt x="204787" y="760801"/>
                    </a:cubicBezTo>
                    <a:cubicBezTo>
                      <a:pt x="204787" y="719400"/>
                      <a:pt x="221920" y="680141"/>
                      <a:pt x="252616" y="650875"/>
                    </a:cubicBezTo>
                    <a:cubicBezTo>
                      <a:pt x="221920" y="621609"/>
                      <a:pt x="204787" y="581636"/>
                      <a:pt x="204787" y="540949"/>
                    </a:cubicBezTo>
                    <a:cubicBezTo>
                      <a:pt x="204787" y="466000"/>
                      <a:pt x="260469" y="402471"/>
                      <a:pt x="335425" y="388195"/>
                    </a:cubicBezTo>
                    <a:cubicBezTo>
                      <a:pt x="347561" y="356074"/>
                      <a:pt x="368263" y="328236"/>
                      <a:pt x="394676" y="306108"/>
                    </a:cubicBezTo>
                    <a:cubicBezTo>
                      <a:pt x="432511" y="274700"/>
                      <a:pt x="480340" y="258283"/>
                      <a:pt x="529597" y="258283"/>
                    </a:cubicBezTo>
                    <a:cubicBezTo>
                      <a:pt x="563149" y="258283"/>
                      <a:pt x="596701" y="266135"/>
                      <a:pt x="625969" y="280411"/>
                    </a:cubicBezTo>
                    <a:cubicBezTo>
                      <a:pt x="658807" y="263280"/>
                      <a:pt x="696642" y="254000"/>
                      <a:pt x="735191" y="254000"/>
                    </a:cubicBezTo>
                    <a:close/>
                    <a:moveTo>
                      <a:pt x="965440" y="85579"/>
                    </a:moveTo>
                    <a:cubicBezTo>
                      <a:pt x="969268" y="84510"/>
                      <a:pt x="973540" y="85045"/>
                      <a:pt x="977456" y="87539"/>
                    </a:cubicBezTo>
                    <a:cubicBezTo>
                      <a:pt x="984577" y="91816"/>
                      <a:pt x="987425" y="101082"/>
                      <a:pt x="983152" y="108922"/>
                    </a:cubicBezTo>
                    <a:cubicBezTo>
                      <a:pt x="983152" y="108922"/>
                      <a:pt x="983152" y="108922"/>
                      <a:pt x="921917" y="214410"/>
                    </a:cubicBezTo>
                    <a:cubicBezTo>
                      <a:pt x="919069" y="219399"/>
                      <a:pt x="914084" y="222250"/>
                      <a:pt x="908388" y="222250"/>
                    </a:cubicBezTo>
                    <a:cubicBezTo>
                      <a:pt x="906252" y="222250"/>
                      <a:pt x="903404" y="221537"/>
                      <a:pt x="900555" y="220112"/>
                    </a:cubicBezTo>
                    <a:cubicBezTo>
                      <a:pt x="893435" y="215835"/>
                      <a:pt x="890587" y="205857"/>
                      <a:pt x="894859" y="198729"/>
                    </a:cubicBezTo>
                    <a:cubicBezTo>
                      <a:pt x="894859" y="198729"/>
                      <a:pt x="894859" y="198729"/>
                      <a:pt x="956095" y="93241"/>
                    </a:cubicBezTo>
                    <a:cubicBezTo>
                      <a:pt x="958231" y="89321"/>
                      <a:pt x="961613" y="86648"/>
                      <a:pt x="965440" y="85579"/>
                    </a:cubicBezTo>
                    <a:close/>
                    <a:moveTo>
                      <a:pt x="341312" y="83813"/>
                    </a:moveTo>
                    <a:cubicBezTo>
                      <a:pt x="345192" y="84882"/>
                      <a:pt x="348720" y="87377"/>
                      <a:pt x="350837" y="90940"/>
                    </a:cubicBezTo>
                    <a:cubicBezTo>
                      <a:pt x="350837" y="90940"/>
                      <a:pt x="350837" y="90940"/>
                      <a:pt x="410103" y="197141"/>
                    </a:cubicBezTo>
                    <a:cubicBezTo>
                      <a:pt x="414337" y="204269"/>
                      <a:pt x="412220" y="214247"/>
                      <a:pt x="404459" y="218524"/>
                    </a:cubicBezTo>
                    <a:cubicBezTo>
                      <a:pt x="402342" y="219949"/>
                      <a:pt x="399520" y="220662"/>
                      <a:pt x="396698" y="220662"/>
                    </a:cubicBezTo>
                    <a:cubicBezTo>
                      <a:pt x="391759" y="220662"/>
                      <a:pt x="386115" y="217811"/>
                      <a:pt x="383292" y="212109"/>
                    </a:cubicBezTo>
                    <a:lnTo>
                      <a:pt x="323320" y="106621"/>
                    </a:lnTo>
                    <a:cubicBezTo>
                      <a:pt x="319087" y="98781"/>
                      <a:pt x="321909" y="89515"/>
                      <a:pt x="329670" y="85238"/>
                    </a:cubicBezTo>
                    <a:cubicBezTo>
                      <a:pt x="333198" y="83100"/>
                      <a:pt x="337431" y="82744"/>
                      <a:pt x="341312" y="83813"/>
                    </a:cubicBezTo>
                    <a:close/>
                    <a:moveTo>
                      <a:pt x="651668" y="0"/>
                    </a:moveTo>
                    <a:cubicBezTo>
                      <a:pt x="659895" y="0"/>
                      <a:pt x="666750" y="7162"/>
                      <a:pt x="666750" y="15757"/>
                    </a:cubicBezTo>
                    <a:cubicBezTo>
                      <a:pt x="666750" y="15757"/>
                      <a:pt x="666750" y="15757"/>
                      <a:pt x="666750" y="138231"/>
                    </a:cubicBezTo>
                    <a:cubicBezTo>
                      <a:pt x="666750" y="146826"/>
                      <a:pt x="659895" y="153988"/>
                      <a:pt x="651668" y="153988"/>
                    </a:cubicBezTo>
                    <a:cubicBezTo>
                      <a:pt x="643442" y="153988"/>
                      <a:pt x="636587" y="146826"/>
                      <a:pt x="636587" y="138231"/>
                    </a:cubicBezTo>
                    <a:cubicBezTo>
                      <a:pt x="636587" y="138231"/>
                      <a:pt x="636587" y="138231"/>
                      <a:pt x="636587" y="15757"/>
                    </a:cubicBezTo>
                    <a:cubicBezTo>
                      <a:pt x="636587" y="7162"/>
                      <a:pt x="643442" y="0"/>
                      <a:pt x="651668"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86" name="Group 85">
            <a:extLst>
              <a:ext uri="{FF2B5EF4-FFF2-40B4-BE49-F238E27FC236}">
                <a16:creationId xmlns:a16="http://schemas.microsoft.com/office/drawing/2014/main" id="{221EC682-11CF-46B1-B01F-E40DEFCF963A}"/>
              </a:ext>
            </a:extLst>
          </p:cNvPr>
          <p:cNvGrpSpPr>
            <a:grpSpLocks noChangeAspect="1"/>
          </p:cNvGrpSpPr>
          <p:nvPr/>
        </p:nvGrpSpPr>
        <p:grpSpPr>
          <a:xfrm>
            <a:off x="1978862" y="2118266"/>
            <a:ext cx="913555" cy="914400"/>
            <a:chOff x="5273799" y="2606040"/>
            <a:chExt cx="1644396" cy="1645920"/>
          </a:xfrm>
        </p:grpSpPr>
        <p:sp>
          <p:nvSpPr>
            <p:cNvPr id="87" name="AutoShape 28">
              <a:extLst>
                <a:ext uri="{FF2B5EF4-FFF2-40B4-BE49-F238E27FC236}">
                  <a16:creationId xmlns:a16="http://schemas.microsoft.com/office/drawing/2014/main" id="{17246A13-5818-4A84-9406-CC7C0C3E003C}"/>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8" name="Group 87">
              <a:extLst>
                <a:ext uri="{FF2B5EF4-FFF2-40B4-BE49-F238E27FC236}">
                  <a16:creationId xmlns:a16="http://schemas.microsoft.com/office/drawing/2014/main" id="{5F4EF70F-1B78-4730-9504-792FA9F6FDD5}"/>
                </a:ext>
              </a:extLst>
            </p:cNvPr>
            <p:cNvGrpSpPr/>
            <p:nvPr/>
          </p:nvGrpSpPr>
          <p:grpSpPr>
            <a:xfrm>
              <a:off x="5537070" y="2899029"/>
              <a:ext cx="1119378" cy="1182243"/>
              <a:chOff x="5537070" y="2899029"/>
              <a:chExt cx="1119378" cy="1182243"/>
            </a:xfrm>
          </p:grpSpPr>
          <p:sp>
            <p:nvSpPr>
              <p:cNvPr id="89" name="Freeform 30">
                <a:extLst>
                  <a:ext uri="{FF2B5EF4-FFF2-40B4-BE49-F238E27FC236}">
                    <a16:creationId xmlns:a16="http://schemas.microsoft.com/office/drawing/2014/main" id="{C06DAE08-4C02-4CDC-978D-B5B6241DD921}"/>
                  </a:ext>
                </a:extLst>
              </p:cNvPr>
              <p:cNvSpPr>
                <a:spLocks noEditPoints="1"/>
              </p:cNvSpPr>
              <p:nvPr/>
            </p:nvSpPr>
            <p:spPr bwMode="auto">
              <a:xfrm>
                <a:off x="5538594" y="2961894"/>
                <a:ext cx="1116330" cy="961263"/>
              </a:xfrm>
              <a:custGeom>
                <a:avLst/>
                <a:gdLst>
                  <a:gd name="T0" fmla="*/ 752 w 1564"/>
                  <a:gd name="T1" fmla="*/ 1346 h 1346"/>
                  <a:gd name="T2" fmla="*/ 479 w 1564"/>
                  <a:gd name="T3" fmla="*/ 1346 h 1346"/>
                  <a:gd name="T4" fmla="*/ 469 w 1564"/>
                  <a:gd name="T5" fmla="*/ 1336 h 1346"/>
                  <a:gd name="T6" fmla="*/ 469 w 1564"/>
                  <a:gd name="T7" fmla="*/ 856 h 1346"/>
                  <a:gd name="T8" fmla="*/ 479 w 1564"/>
                  <a:gd name="T9" fmla="*/ 846 h 1346"/>
                  <a:gd name="T10" fmla="*/ 752 w 1564"/>
                  <a:gd name="T11" fmla="*/ 846 h 1346"/>
                  <a:gd name="T12" fmla="*/ 762 w 1564"/>
                  <a:gd name="T13" fmla="*/ 856 h 1346"/>
                  <a:gd name="T14" fmla="*/ 762 w 1564"/>
                  <a:gd name="T15" fmla="*/ 1336 h 1346"/>
                  <a:gd name="T16" fmla="*/ 752 w 1564"/>
                  <a:gd name="T17" fmla="*/ 1346 h 1346"/>
                  <a:gd name="T18" fmla="*/ 1095 w 1564"/>
                  <a:gd name="T19" fmla="*/ 1336 h 1346"/>
                  <a:gd name="T20" fmla="*/ 1095 w 1564"/>
                  <a:gd name="T21" fmla="*/ 856 h 1346"/>
                  <a:gd name="T22" fmla="*/ 1085 w 1564"/>
                  <a:gd name="T23" fmla="*/ 846 h 1346"/>
                  <a:gd name="T24" fmla="*/ 812 w 1564"/>
                  <a:gd name="T25" fmla="*/ 846 h 1346"/>
                  <a:gd name="T26" fmla="*/ 802 w 1564"/>
                  <a:gd name="T27" fmla="*/ 856 h 1346"/>
                  <a:gd name="T28" fmla="*/ 802 w 1564"/>
                  <a:gd name="T29" fmla="*/ 1336 h 1346"/>
                  <a:gd name="T30" fmla="*/ 812 w 1564"/>
                  <a:gd name="T31" fmla="*/ 1346 h 1346"/>
                  <a:gd name="T32" fmla="*/ 1085 w 1564"/>
                  <a:gd name="T33" fmla="*/ 1346 h 1346"/>
                  <a:gd name="T34" fmla="*/ 1095 w 1564"/>
                  <a:gd name="T35" fmla="*/ 1336 h 1346"/>
                  <a:gd name="T36" fmla="*/ 1554 w 1564"/>
                  <a:gd name="T37" fmla="*/ 372 h 1346"/>
                  <a:gd name="T38" fmla="*/ 1384 w 1564"/>
                  <a:gd name="T39" fmla="*/ 18 h 1346"/>
                  <a:gd name="T40" fmla="*/ 1360 w 1564"/>
                  <a:gd name="T41" fmla="*/ 0 h 1346"/>
                  <a:gd name="T42" fmla="*/ 205 w 1564"/>
                  <a:gd name="T43" fmla="*/ 0 h 1346"/>
                  <a:gd name="T44" fmla="*/ 180 w 1564"/>
                  <a:gd name="T45" fmla="*/ 20 h 1346"/>
                  <a:gd name="T46" fmla="*/ 10 w 1564"/>
                  <a:gd name="T47" fmla="*/ 370 h 1346"/>
                  <a:gd name="T48" fmla="*/ 34 w 1564"/>
                  <a:gd name="T49" fmla="*/ 408 h 1346"/>
                  <a:gd name="T50" fmla="*/ 1530 w 1564"/>
                  <a:gd name="T51" fmla="*/ 408 h 1346"/>
                  <a:gd name="T52" fmla="*/ 1554 w 1564"/>
                  <a:gd name="T53" fmla="*/ 372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4" h="1346">
                    <a:moveTo>
                      <a:pt x="752" y="1346"/>
                    </a:moveTo>
                    <a:cubicBezTo>
                      <a:pt x="479" y="1346"/>
                      <a:pt x="479" y="1346"/>
                      <a:pt x="479" y="1346"/>
                    </a:cubicBezTo>
                    <a:cubicBezTo>
                      <a:pt x="474" y="1346"/>
                      <a:pt x="469" y="1342"/>
                      <a:pt x="469" y="1336"/>
                    </a:cubicBezTo>
                    <a:cubicBezTo>
                      <a:pt x="469" y="856"/>
                      <a:pt x="469" y="856"/>
                      <a:pt x="469" y="856"/>
                    </a:cubicBezTo>
                    <a:cubicBezTo>
                      <a:pt x="469" y="851"/>
                      <a:pt x="474" y="846"/>
                      <a:pt x="479" y="846"/>
                    </a:cubicBezTo>
                    <a:cubicBezTo>
                      <a:pt x="752" y="846"/>
                      <a:pt x="752" y="846"/>
                      <a:pt x="752" y="846"/>
                    </a:cubicBezTo>
                    <a:cubicBezTo>
                      <a:pt x="758" y="846"/>
                      <a:pt x="762" y="851"/>
                      <a:pt x="762" y="856"/>
                    </a:cubicBezTo>
                    <a:cubicBezTo>
                      <a:pt x="762" y="1336"/>
                      <a:pt x="762" y="1336"/>
                      <a:pt x="762" y="1336"/>
                    </a:cubicBezTo>
                    <a:cubicBezTo>
                      <a:pt x="762" y="1342"/>
                      <a:pt x="758" y="1346"/>
                      <a:pt x="752" y="1346"/>
                    </a:cubicBezTo>
                    <a:close/>
                    <a:moveTo>
                      <a:pt x="1095" y="1336"/>
                    </a:moveTo>
                    <a:cubicBezTo>
                      <a:pt x="1095" y="856"/>
                      <a:pt x="1095" y="856"/>
                      <a:pt x="1095" y="856"/>
                    </a:cubicBezTo>
                    <a:cubicBezTo>
                      <a:pt x="1095" y="851"/>
                      <a:pt x="1090" y="846"/>
                      <a:pt x="1085" y="846"/>
                    </a:cubicBezTo>
                    <a:cubicBezTo>
                      <a:pt x="812" y="846"/>
                      <a:pt x="812" y="846"/>
                      <a:pt x="812" y="846"/>
                    </a:cubicBezTo>
                    <a:cubicBezTo>
                      <a:pt x="806" y="846"/>
                      <a:pt x="802" y="851"/>
                      <a:pt x="802" y="856"/>
                    </a:cubicBezTo>
                    <a:cubicBezTo>
                      <a:pt x="802" y="1336"/>
                      <a:pt x="802" y="1336"/>
                      <a:pt x="802" y="1336"/>
                    </a:cubicBezTo>
                    <a:cubicBezTo>
                      <a:pt x="802" y="1342"/>
                      <a:pt x="806" y="1346"/>
                      <a:pt x="812" y="1346"/>
                    </a:cubicBezTo>
                    <a:cubicBezTo>
                      <a:pt x="1085" y="1346"/>
                      <a:pt x="1085" y="1346"/>
                      <a:pt x="1085" y="1346"/>
                    </a:cubicBezTo>
                    <a:cubicBezTo>
                      <a:pt x="1090" y="1346"/>
                      <a:pt x="1095" y="1342"/>
                      <a:pt x="1095" y="1336"/>
                    </a:cubicBezTo>
                    <a:close/>
                    <a:moveTo>
                      <a:pt x="1554" y="372"/>
                    </a:moveTo>
                    <a:cubicBezTo>
                      <a:pt x="1384" y="18"/>
                      <a:pt x="1384" y="18"/>
                      <a:pt x="1384" y="18"/>
                    </a:cubicBezTo>
                    <a:cubicBezTo>
                      <a:pt x="1379" y="9"/>
                      <a:pt x="1370" y="0"/>
                      <a:pt x="1360" y="0"/>
                    </a:cubicBezTo>
                    <a:cubicBezTo>
                      <a:pt x="205" y="0"/>
                      <a:pt x="205" y="0"/>
                      <a:pt x="205" y="0"/>
                    </a:cubicBezTo>
                    <a:cubicBezTo>
                      <a:pt x="194" y="0"/>
                      <a:pt x="185" y="11"/>
                      <a:pt x="180" y="20"/>
                    </a:cubicBezTo>
                    <a:cubicBezTo>
                      <a:pt x="10" y="370"/>
                      <a:pt x="10" y="370"/>
                      <a:pt x="10" y="370"/>
                    </a:cubicBezTo>
                    <a:cubicBezTo>
                      <a:pt x="0" y="388"/>
                      <a:pt x="14" y="408"/>
                      <a:pt x="34" y="408"/>
                    </a:cubicBezTo>
                    <a:cubicBezTo>
                      <a:pt x="1530" y="408"/>
                      <a:pt x="1530" y="408"/>
                      <a:pt x="1530" y="408"/>
                    </a:cubicBezTo>
                    <a:cubicBezTo>
                      <a:pt x="1551" y="408"/>
                      <a:pt x="1564" y="391"/>
                      <a:pt x="1554" y="37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31">
                <a:extLst>
                  <a:ext uri="{FF2B5EF4-FFF2-40B4-BE49-F238E27FC236}">
                    <a16:creationId xmlns:a16="http://schemas.microsoft.com/office/drawing/2014/main" id="{9C2D91F6-27C8-4BB7-B8A7-BB32B7C25FFB}"/>
                  </a:ext>
                </a:extLst>
              </p:cNvPr>
              <p:cNvSpPr>
                <a:spLocks noEditPoints="1"/>
              </p:cNvSpPr>
              <p:nvPr/>
            </p:nvSpPr>
            <p:spPr bwMode="auto">
              <a:xfrm>
                <a:off x="5537070" y="2899029"/>
                <a:ext cx="1119378" cy="1182243"/>
              </a:xfrm>
              <a:custGeom>
                <a:avLst/>
                <a:gdLst>
                  <a:gd name="T0" fmla="*/ 1524 w 1568"/>
                  <a:gd name="T1" fmla="*/ 1529 h 1655"/>
                  <a:gd name="T2" fmla="*/ 1459 w 1568"/>
                  <a:gd name="T3" fmla="*/ 1529 h 1655"/>
                  <a:gd name="T4" fmla="*/ 1459 w 1568"/>
                  <a:gd name="T5" fmla="*/ 1500 h 1655"/>
                  <a:gd name="T6" fmla="*/ 1438 w 1568"/>
                  <a:gd name="T7" fmla="*/ 1478 h 1655"/>
                  <a:gd name="T8" fmla="*/ 130 w 1568"/>
                  <a:gd name="T9" fmla="*/ 1478 h 1655"/>
                  <a:gd name="T10" fmla="*/ 109 w 1568"/>
                  <a:gd name="T11" fmla="*/ 1500 h 1655"/>
                  <a:gd name="T12" fmla="*/ 109 w 1568"/>
                  <a:gd name="T13" fmla="*/ 1529 h 1655"/>
                  <a:gd name="T14" fmla="*/ 44 w 1568"/>
                  <a:gd name="T15" fmla="*/ 1529 h 1655"/>
                  <a:gd name="T16" fmla="*/ 23 w 1568"/>
                  <a:gd name="T17" fmla="*/ 1551 h 1655"/>
                  <a:gd name="T18" fmla="*/ 23 w 1568"/>
                  <a:gd name="T19" fmla="*/ 1634 h 1655"/>
                  <a:gd name="T20" fmla="*/ 44 w 1568"/>
                  <a:gd name="T21" fmla="*/ 1655 h 1655"/>
                  <a:gd name="T22" fmla="*/ 1524 w 1568"/>
                  <a:gd name="T23" fmla="*/ 1655 h 1655"/>
                  <a:gd name="T24" fmla="*/ 1545 w 1568"/>
                  <a:gd name="T25" fmla="*/ 1634 h 1655"/>
                  <a:gd name="T26" fmla="*/ 1545 w 1568"/>
                  <a:gd name="T27" fmla="*/ 1551 h 1655"/>
                  <a:gd name="T28" fmla="*/ 1524 w 1568"/>
                  <a:gd name="T29" fmla="*/ 1529 h 1655"/>
                  <a:gd name="T30" fmla="*/ 1568 w 1568"/>
                  <a:gd name="T31" fmla="*/ 562 h 1655"/>
                  <a:gd name="T32" fmla="*/ 1568 w 1568"/>
                  <a:gd name="T33" fmla="*/ 583 h 1655"/>
                  <a:gd name="T34" fmla="*/ 1568 w 1568"/>
                  <a:gd name="T35" fmla="*/ 583 h 1655"/>
                  <a:gd name="T36" fmla="*/ 1394 w 1568"/>
                  <a:gd name="T37" fmla="*/ 778 h 1655"/>
                  <a:gd name="T38" fmla="*/ 1394 w 1568"/>
                  <a:gd name="T39" fmla="*/ 1434 h 1655"/>
                  <a:gd name="T40" fmla="*/ 1350 w 1568"/>
                  <a:gd name="T41" fmla="*/ 1434 h 1655"/>
                  <a:gd name="T42" fmla="*/ 1350 w 1568"/>
                  <a:gd name="T43" fmla="*/ 778 h 1655"/>
                  <a:gd name="T44" fmla="*/ 1176 w 1568"/>
                  <a:gd name="T45" fmla="*/ 588 h 1655"/>
                  <a:gd name="T46" fmla="*/ 980 w 1568"/>
                  <a:gd name="T47" fmla="*/ 779 h 1655"/>
                  <a:gd name="T48" fmla="*/ 784 w 1568"/>
                  <a:gd name="T49" fmla="*/ 588 h 1655"/>
                  <a:gd name="T50" fmla="*/ 588 w 1568"/>
                  <a:gd name="T51" fmla="*/ 779 h 1655"/>
                  <a:gd name="T52" fmla="*/ 392 w 1568"/>
                  <a:gd name="T53" fmla="*/ 588 h 1655"/>
                  <a:gd name="T54" fmla="*/ 218 w 1568"/>
                  <a:gd name="T55" fmla="*/ 778 h 1655"/>
                  <a:gd name="T56" fmla="*/ 218 w 1568"/>
                  <a:gd name="T57" fmla="*/ 1434 h 1655"/>
                  <a:gd name="T58" fmla="*/ 174 w 1568"/>
                  <a:gd name="T59" fmla="*/ 1434 h 1655"/>
                  <a:gd name="T60" fmla="*/ 174 w 1568"/>
                  <a:gd name="T61" fmla="*/ 778 h 1655"/>
                  <a:gd name="T62" fmla="*/ 0 w 1568"/>
                  <a:gd name="T63" fmla="*/ 583 h 1655"/>
                  <a:gd name="T64" fmla="*/ 0 w 1568"/>
                  <a:gd name="T65" fmla="*/ 583 h 1655"/>
                  <a:gd name="T66" fmla="*/ 0 w 1568"/>
                  <a:gd name="T67" fmla="*/ 562 h 1655"/>
                  <a:gd name="T68" fmla="*/ 22 w 1568"/>
                  <a:gd name="T69" fmla="*/ 540 h 1655"/>
                  <a:gd name="T70" fmla="*/ 1546 w 1568"/>
                  <a:gd name="T71" fmla="*/ 540 h 1655"/>
                  <a:gd name="T72" fmla="*/ 1568 w 1568"/>
                  <a:gd name="T73" fmla="*/ 562 h 1655"/>
                  <a:gd name="T74" fmla="*/ 1354 w 1568"/>
                  <a:gd name="T75" fmla="*/ 44 h 1655"/>
                  <a:gd name="T76" fmla="*/ 214 w 1568"/>
                  <a:gd name="T77" fmla="*/ 44 h 1655"/>
                  <a:gd name="T78" fmla="*/ 192 w 1568"/>
                  <a:gd name="T79" fmla="*/ 22 h 1655"/>
                  <a:gd name="T80" fmla="*/ 214 w 1568"/>
                  <a:gd name="T81" fmla="*/ 0 h 1655"/>
                  <a:gd name="T82" fmla="*/ 1354 w 1568"/>
                  <a:gd name="T83" fmla="*/ 0 h 1655"/>
                  <a:gd name="T84" fmla="*/ 1376 w 1568"/>
                  <a:gd name="T85" fmla="*/ 22 h 1655"/>
                  <a:gd name="T86" fmla="*/ 1354 w 1568"/>
                  <a:gd name="T87" fmla="*/ 44 h 1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68" h="1655">
                    <a:moveTo>
                      <a:pt x="1524" y="1529"/>
                    </a:moveTo>
                    <a:cubicBezTo>
                      <a:pt x="1459" y="1529"/>
                      <a:pt x="1459" y="1529"/>
                      <a:pt x="1459" y="1529"/>
                    </a:cubicBezTo>
                    <a:cubicBezTo>
                      <a:pt x="1459" y="1500"/>
                      <a:pt x="1459" y="1500"/>
                      <a:pt x="1459" y="1500"/>
                    </a:cubicBezTo>
                    <a:cubicBezTo>
                      <a:pt x="1459" y="1488"/>
                      <a:pt x="1450" y="1478"/>
                      <a:pt x="1438" y="1478"/>
                    </a:cubicBezTo>
                    <a:cubicBezTo>
                      <a:pt x="130" y="1478"/>
                      <a:pt x="130" y="1478"/>
                      <a:pt x="130" y="1478"/>
                    </a:cubicBezTo>
                    <a:cubicBezTo>
                      <a:pt x="118" y="1478"/>
                      <a:pt x="109" y="1488"/>
                      <a:pt x="109" y="1500"/>
                    </a:cubicBezTo>
                    <a:cubicBezTo>
                      <a:pt x="109" y="1529"/>
                      <a:pt x="109" y="1529"/>
                      <a:pt x="109" y="1529"/>
                    </a:cubicBezTo>
                    <a:cubicBezTo>
                      <a:pt x="44" y="1529"/>
                      <a:pt x="44" y="1529"/>
                      <a:pt x="44" y="1529"/>
                    </a:cubicBezTo>
                    <a:cubicBezTo>
                      <a:pt x="32" y="1529"/>
                      <a:pt x="23" y="1539"/>
                      <a:pt x="23" y="1551"/>
                    </a:cubicBezTo>
                    <a:cubicBezTo>
                      <a:pt x="23" y="1634"/>
                      <a:pt x="23" y="1634"/>
                      <a:pt x="23" y="1634"/>
                    </a:cubicBezTo>
                    <a:cubicBezTo>
                      <a:pt x="23" y="1646"/>
                      <a:pt x="32" y="1655"/>
                      <a:pt x="44" y="1655"/>
                    </a:cubicBezTo>
                    <a:cubicBezTo>
                      <a:pt x="1524" y="1655"/>
                      <a:pt x="1524" y="1655"/>
                      <a:pt x="1524" y="1655"/>
                    </a:cubicBezTo>
                    <a:cubicBezTo>
                      <a:pt x="1536" y="1655"/>
                      <a:pt x="1545" y="1646"/>
                      <a:pt x="1545" y="1634"/>
                    </a:cubicBezTo>
                    <a:cubicBezTo>
                      <a:pt x="1545" y="1551"/>
                      <a:pt x="1545" y="1551"/>
                      <a:pt x="1545" y="1551"/>
                    </a:cubicBezTo>
                    <a:cubicBezTo>
                      <a:pt x="1545" y="1539"/>
                      <a:pt x="1536" y="1529"/>
                      <a:pt x="1524" y="1529"/>
                    </a:cubicBezTo>
                    <a:close/>
                    <a:moveTo>
                      <a:pt x="1568" y="562"/>
                    </a:moveTo>
                    <a:cubicBezTo>
                      <a:pt x="1568" y="583"/>
                      <a:pt x="1568" y="583"/>
                      <a:pt x="1568" y="583"/>
                    </a:cubicBezTo>
                    <a:cubicBezTo>
                      <a:pt x="1568" y="583"/>
                      <a:pt x="1568" y="583"/>
                      <a:pt x="1568" y="583"/>
                    </a:cubicBezTo>
                    <a:cubicBezTo>
                      <a:pt x="1568" y="684"/>
                      <a:pt x="1491" y="767"/>
                      <a:pt x="1394" y="778"/>
                    </a:cubicBezTo>
                    <a:cubicBezTo>
                      <a:pt x="1394" y="1434"/>
                      <a:pt x="1394" y="1434"/>
                      <a:pt x="1394" y="1434"/>
                    </a:cubicBezTo>
                    <a:cubicBezTo>
                      <a:pt x="1350" y="1434"/>
                      <a:pt x="1350" y="1434"/>
                      <a:pt x="1350" y="1434"/>
                    </a:cubicBezTo>
                    <a:cubicBezTo>
                      <a:pt x="1350" y="778"/>
                      <a:pt x="1350" y="778"/>
                      <a:pt x="1350" y="778"/>
                    </a:cubicBezTo>
                    <a:cubicBezTo>
                      <a:pt x="1253" y="767"/>
                      <a:pt x="1178" y="687"/>
                      <a:pt x="1176" y="588"/>
                    </a:cubicBezTo>
                    <a:cubicBezTo>
                      <a:pt x="1173" y="694"/>
                      <a:pt x="1086" y="779"/>
                      <a:pt x="980" y="779"/>
                    </a:cubicBezTo>
                    <a:cubicBezTo>
                      <a:pt x="873" y="779"/>
                      <a:pt x="787" y="694"/>
                      <a:pt x="784" y="588"/>
                    </a:cubicBezTo>
                    <a:cubicBezTo>
                      <a:pt x="781" y="694"/>
                      <a:pt x="695" y="779"/>
                      <a:pt x="588" y="779"/>
                    </a:cubicBezTo>
                    <a:cubicBezTo>
                      <a:pt x="482" y="779"/>
                      <a:pt x="395" y="694"/>
                      <a:pt x="392" y="588"/>
                    </a:cubicBezTo>
                    <a:cubicBezTo>
                      <a:pt x="390" y="687"/>
                      <a:pt x="315" y="767"/>
                      <a:pt x="218" y="778"/>
                    </a:cubicBezTo>
                    <a:cubicBezTo>
                      <a:pt x="218" y="1434"/>
                      <a:pt x="218" y="1434"/>
                      <a:pt x="218" y="1434"/>
                    </a:cubicBezTo>
                    <a:cubicBezTo>
                      <a:pt x="174" y="1434"/>
                      <a:pt x="174" y="1434"/>
                      <a:pt x="174" y="1434"/>
                    </a:cubicBezTo>
                    <a:cubicBezTo>
                      <a:pt x="174" y="778"/>
                      <a:pt x="174" y="778"/>
                      <a:pt x="174" y="778"/>
                    </a:cubicBezTo>
                    <a:cubicBezTo>
                      <a:pt x="77" y="767"/>
                      <a:pt x="0" y="684"/>
                      <a:pt x="0" y="583"/>
                    </a:cubicBezTo>
                    <a:cubicBezTo>
                      <a:pt x="0" y="583"/>
                      <a:pt x="0" y="583"/>
                      <a:pt x="0" y="583"/>
                    </a:cubicBezTo>
                    <a:cubicBezTo>
                      <a:pt x="0" y="562"/>
                      <a:pt x="0" y="562"/>
                      <a:pt x="0" y="562"/>
                    </a:cubicBezTo>
                    <a:cubicBezTo>
                      <a:pt x="0" y="549"/>
                      <a:pt x="10" y="540"/>
                      <a:pt x="22" y="540"/>
                    </a:cubicBezTo>
                    <a:cubicBezTo>
                      <a:pt x="1546" y="540"/>
                      <a:pt x="1546" y="540"/>
                      <a:pt x="1546" y="540"/>
                    </a:cubicBezTo>
                    <a:cubicBezTo>
                      <a:pt x="1558" y="540"/>
                      <a:pt x="1568" y="549"/>
                      <a:pt x="1568" y="562"/>
                    </a:cubicBezTo>
                    <a:close/>
                    <a:moveTo>
                      <a:pt x="1354" y="44"/>
                    </a:moveTo>
                    <a:cubicBezTo>
                      <a:pt x="214" y="44"/>
                      <a:pt x="214" y="44"/>
                      <a:pt x="214" y="44"/>
                    </a:cubicBezTo>
                    <a:cubicBezTo>
                      <a:pt x="202" y="44"/>
                      <a:pt x="192" y="34"/>
                      <a:pt x="192" y="22"/>
                    </a:cubicBezTo>
                    <a:cubicBezTo>
                      <a:pt x="192" y="10"/>
                      <a:pt x="202" y="0"/>
                      <a:pt x="214" y="0"/>
                    </a:cubicBezTo>
                    <a:cubicBezTo>
                      <a:pt x="1354" y="0"/>
                      <a:pt x="1354" y="0"/>
                      <a:pt x="1354" y="0"/>
                    </a:cubicBezTo>
                    <a:cubicBezTo>
                      <a:pt x="1366" y="0"/>
                      <a:pt x="1376" y="10"/>
                      <a:pt x="1376" y="22"/>
                    </a:cubicBezTo>
                    <a:cubicBezTo>
                      <a:pt x="1376" y="34"/>
                      <a:pt x="1366" y="44"/>
                      <a:pt x="1354"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91" name="bcgIcons_PriceTag">
            <a:extLst>
              <a:ext uri="{FF2B5EF4-FFF2-40B4-BE49-F238E27FC236}">
                <a16:creationId xmlns:a16="http://schemas.microsoft.com/office/drawing/2014/main" id="{F120ED38-2D99-4CC9-B79B-1B14AE688F85}"/>
              </a:ext>
            </a:extLst>
          </p:cNvPr>
          <p:cNvGrpSpPr>
            <a:grpSpLocks noChangeAspect="1"/>
          </p:cNvGrpSpPr>
          <p:nvPr/>
        </p:nvGrpSpPr>
        <p:grpSpPr bwMode="auto">
          <a:xfrm>
            <a:off x="9290699" y="4541611"/>
            <a:ext cx="913555" cy="914400"/>
            <a:chOff x="1682" y="0"/>
            <a:chExt cx="4316" cy="4320"/>
          </a:xfrm>
        </p:grpSpPr>
        <p:sp>
          <p:nvSpPr>
            <p:cNvPr id="92" name="AutoShape 3">
              <a:extLst>
                <a:ext uri="{FF2B5EF4-FFF2-40B4-BE49-F238E27FC236}">
                  <a16:creationId xmlns:a16="http://schemas.microsoft.com/office/drawing/2014/main" id="{6D1B67DF-32C1-482E-8922-9E9E9DD9E42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5">
              <a:extLst>
                <a:ext uri="{FF2B5EF4-FFF2-40B4-BE49-F238E27FC236}">
                  <a16:creationId xmlns:a16="http://schemas.microsoft.com/office/drawing/2014/main" id="{2B48F23A-4A1A-4E51-8700-50F24830A00B}"/>
                </a:ext>
              </a:extLst>
            </p:cNvPr>
            <p:cNvSpPr>
              <a:spLocks noEditPoints="1"/>
            </p:cNvSpPr>
            <p:nvPr/>
          </p:nvSpPr>
          <p:spPr bwMode="auto">
            <a:xfrm>
              <a:off x="2392" y="675"/>
              <a:ext cx="2894" cy="2966"/>
            </a:xfrm>
            <a:custGeom>
              <a:avLst/>
              <a:gdLst>
                <a:gd name="T0" fmla="*/ 704 w 1545"/>
                <a:gd name="T1" fmla="*/ 1582 h 1582"/>
                <a:gd name="T2" fmla="*/ 674 w 1545"/>
                <a:gd name="T3" fmla="*/ 1571 h 1582"/>
                <a:gd name="T4" fmla="*/ 15 w 1545"/>
                <a:gd name="T5" fmla="*/ 959 h 1582"/>
                <a:gd name="T6" fmla="*/ 1 w 1545"/>
                <a:gd name="T7" fmla="*/ 929 h 1582"/>
                <a:gd name="T8" fmla="*/ 12 w 1545"/>
                <a:gd name="T9" fmla="*/ 897 h 1582"/>
                <a:gd name="T10" fmla="*/ 717 w 1545"/>
                <a:gd name="T11" fmla="*/ 136 h 1582"/>
                <a:gd name="T12" fmla="*/ 727 w 1545"/>
                <a:gd name="T13" fmla="*/ 130 h 1582"/>
                <a:gd name="T14" fmla="*/ 1136 w 1545"/>
                <a:gd name="T15" fmla="*/ 4 h 1582"/>
                <a:gd name="T16" fmla="*/ 1139 w 1545"/>
                <a:gd name="T17" fmla="*/ 3 h 1582"/>
                <a:gd name="T18" fmla="*/ 1180 w 1545"/>
                <a:gd name="T19" fmla="*/ 13 h 1582"/>
                <a:gd name="T20" fmla="*/ 1529 w 1545"/>
                <a:gd name="T21" fmla="*/ 336 h 1582"/>
                <a:gd name="T22" fmla="*/ 1542 w 1545"/>
                <a:gd name="T23" fmla="*/ 379 h 1582"/>
                <a:gd name="T24" fmla="*/ 1542 w 1545"/>
                <a:gd name="T25" fmla="*/ 380 h 1582"/>
                <a:gd name="T26" fmla="*/ 1447 w 1545"/>
                <a:gd name="T27" fmla="*/ 797 h 1582"/>
                <a:gd name="T28" fmla="*/ 1441 w 1545"/>
                <a:gd name="T29" fmla="*/ 807 h 1582"/>
                <a:gd name="T30" fmla="*/ 736 w 1545"/>
                <a:gd name="T31" fmla="*/ 1568 h 1582"/>
                <a:gd name="T32" fmla="*/ 706 w 1545"/>
                <a:gd name="T33" fmla="*/ 1582 h 1582"/>
                <a:gd name="T34" fmla="*/ 704 w 1545"/>
                <a:gd name="T35" fmla="*/ 1582 h 1582"/>
                <a:gd name="T36" fmla="*/ 704 w 1545"/>
                <a:gd name="T37" fmla="*/ 1538 h 1582"/>
                <a:gd name="T38" fmla="*/ 704 w 1545"/>
                <a:gd name="T39" fmla="*/ 1538 h 1582"/>
                <a:gd name="T40" fmla="*/ 704 w 1545"/>
                <a:gd name="T41" fmla="*/ 1538 h 1582"/>
                <a:gd name="T42" fmla="*/ 746 w 1545"/>
                <a:gd name="T43" fmla="*/ 171 h 1582"/>
                <a:gd name="T44" fmla="*/ 45 w 1545"/>
                <a:gd name="T45" fmla="*/ 927 h 1582"/>
                <a:gd name="T46" fmla="*/ 704 w 1545"/>
                <a:gd name="T47" fmla="*/ 1538 h 1582"/>
                <a:gd name="T48" fmla="*/ 1405 w 1545"/>
                <a:gd name="T49" fmla="*/ 782 h 1582"/>
                <a:gd name="T50" fmla="*/ 1499 w 1545"/>
                <a:gd name="T51" fmla="*/ 371 h 1582"/>
                <a:gd name="T52" fmla="*/ 1499 w 1545"/>
                <a:gd name="T53" fmla="*/ 369 h 1582"/>
                <a:gd name="T54" fmla="*/ 1151 w 1545"/>
                <a:gd name="T55" fmla="*/ 46 h 1582"/>
                <a:gd name="T56" fmla="*/ 1147 w 1545"/>
                <a:gd name="T57" fmla="*/ 46 h 1582"/>
                <a:gd name="T58" fmla="*/ 746 w 1545"/>
                <a:gd name="T59" fmla="*/ 171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5" h="1582">
                  <a:moveTo>
                    <a:pt x="704" y="1582"/>
                  </a:moveTo>
                  <a:cubicBezTo>
                    <a:pt x="693" y="1582"/>
                    <a:pt x="682" y="1578"/>
                    <a:pt x="674" y="1571"/>
                  </a:cubicBezTo>
                  <a:cubicBezTo>
                    <a:pt x="15" y="959"/>
                    <a:pt x="15" y="959"/>
                    <a:pt x="15" y="959"/>
                  </a:cubicBezTo>
                  <a:cubicBezTo>
                    <a:pt x="6" y="951"/>
                    <a:pt x="1" y="941"/>
                    <a:pt x="1" y="929"/>
                  </a:cubicBezTo>
                  <a:cubicBezTo>
                    <a:pt x="0" y="917"/>
                    <a:pt x="4" y="906"/>
                    <a:pt x="12" y="897"/>
                  </a:cubicBezTo>
                  <a:cubicBezTo>
                    <a:pt x="717" y="136"/>
                    <a:pt x="717" y="136"/>
                    <a:pt x="717" y="136"/>
                  </a:cubicBezTo>
                  <a:cubicBezTo>
                    <a:pt x="720" y="134"/>
                    <a:pt x="723" y="132"/>
                    <a:pt x="727" y="130"/>
                  </a:cubicBezTo>
                  <a:cubicBezTo>
                    <a:pt x="1136" y="4"/>
                    <a:pt x="1136" y="4"/>
                    <a:pt x="1136" y="4"/>
                  </a:cubicBezTo>
                  <a:cubicBezTo>
                    <a:pt x="1137" y="3"/>
                    <a:pt x="1138" y="3"/>
                    <a:pt x="1139" y="3"/>
                  </a:cubicBezTo>
                  <a:cubicBezTo>
                    <a:pt x="1150" y="1"/>
                    <a:pt x="1166" y="0"/>
                    <a:pt x="1180" y="13"/>
                  </a:cubicBezTo>
                  <a:cubicBezTo>
                    <a:pt x="1529" y="336"/>
                    <a:pt x="1529" y="336"/>
                    <a:pt x="1529" y="336"/>
                  </a:cubicBezTo>
                  <a:cubicBezTo>
                    <a:pt x="1540" y="347"/>
                    <a:pt x="1545" y="363"/>
                    <a:pt x="1542" y="379"/>
                  </a:cubicBezTo>
                  <a:cubicBezTo>
                    <a:pt x="1542" y="380"/>
                    <a:pt x="1542" y="380"/>
                    <a:pt x="1542" y="380"/>
                  </a:cubicBezTo>
                  <a:cubicBezTo>
                    <a:pt x="1447" y="797"/>
                    <a:pt x="1447" y="797"/>
                    <a:pt x="1447" y="797"/>
                  </a:cubicBezTo>
                  <a:cubicBezTo>
                    <a:pt x="1446" y="801"/>
                    <a:pt x="1444" y="805"/>
                    <a:pt x="1441" y="807"/>
                  </a:cubicBezTo>
                  <a:cubicBezTo>
                    <a:pt x="736" y="1568"/>
                    <a:pt x="736" y="1568"/>
                    <a:pt x="736" y="1568"/>
                  </a:cubicBezTo>
                  <a:cubicBezTo>
                    <a:pt x="728" y="1577"/>
                    <a:pt x="718" y="1582"/>
                    <a:pt x="706" y="1582"/>
                  </a:cubicBezTo>
                  <a:cubicBezTo>
                    <a:pt x="705" y="1582"/>
                    <a:pt x="705" y="1582"/>
                    <a:pt x="704" y="1582"/>
                  </a:cubicBezTo>
                  <a:close/>
                  <a:moveTo>
                    <a:pt x="704" y="1538"/>
                  </a:moveTo>
                  <a:cubicBezTo>
                    <a:pt x="704" y="1538"/>
                    <a:pt x="704" y="1538"/>
                    <a:pt x="704" y="1538"/>
                  </a:cubicBezTo>
                  <a:cubicBezTo>
                    <a:pt x="704" y="1538"/>
                    <a:pt x="704" y="1538"/>
                    <a:pt x="704" y="1538"/>
                  </a:cubicBezTo>
                  <a:close/>
                  <a:moveTo>
                    <a:pt x="746" y="171"/>
                  </a:moveTo>
                  <a:cubicBezTo>
                    <a:pt x="45" y="927"/>
                    <a:pt x="45" y="927"/>
                    <a:pt x="45" y="927"/>
                  </a:cubicBezTo>
                  <a:cubicBezTo>
                    <a:pt x="704" y="1538"/>
                    <a:pt x="704" y="1538"/>
                    <a:pt x="704" y="1538"/>
                  </a:cubicBezTo>
                  <a:cubicBezTo>
                    <a:pt x="1405" y="782"/>
                    <a:pt x="1405" y="782"/>
                    <a:pt x="1405" y="782"/>
                  </a:cubicBezTo>
                  <a:cubicBezTo>
                    <a:pt x="1499" y="371"/>
                    <a:pt x="1499" y="371"/>
                    <a:pt x="1499" y="371"/>
                  </a:cubicBezTo>
                  <a:cubicBezTo>
                    <a:pt x="1499" y="370"/>
                    <a:pt x="1499" y="369"/>
                    <a:pt x="1499" y="369"/>
                  </a:cubicBezTo>
                  <a:cubicBezTo>
                    <a:pt x="1151" y="46"/>
                    <a:pt x="1151" y="46"/>
                    <a:pt x="1151" y="46"/>
                  </a:cubicBezTo>
                  <a:cubicBezTo>
                    <a:pt x="1150" y="46"/>
                    <a:pt x="1149" y="46"/>
                    <a:pt x="1147" y="46"/>
                  </a:cubicBezTo>
                  <a:lnTo>
                    <a:pt x="746" y="1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6">
              <a:extLst>
                <a:ext uri="{FF2B5EF4-FFF2-40B4-BE49-F238E27FC236}">
                  <a16:creationId xmlns:a16="http://schemas.microsoft.com/office/drawing/2014/main" id="{836717A1-CAD6-4BEA-A3C5-45BE49917884}"/>
                </a:ext>
              </a:extLst>
            </p:cNvPr>
            <p:cNvSpPr>
              <a:spLocks noEditPoints="1"/>
            </p:cNvSpPr>
            <p:nvPr/>
          </p:nvSpPr>
          <p:spPr bwMode="auto">
            <a:xfrm>
              <a:off x="2587" y="848"/>
              <a:ext cx="2527" cy="2600"/>
            </a:xfrm>
            <a:custGeom>
              <a:avLst/>
              <a:gdLst>
                <a:gd name="T0" fmla="*/ 1035 w 1349"/>
                <a:gd name="T1" fmla="*/ 0 h 1387"/>
                <a:gd name="T2" fmla="*/ 665 w 1349"/>
                <a:gd name="T3" fmla="*/ 115 h 1387"/>
                <a:gd name="T4" fmla="*/ 0 w 1349"/>
                <a:gd name="T5" fmla="*/ 833 h 1387"/>
                <a:gd name="T6" fmla="*/ 598 w 1349"/>
                <a:gd name="T7" fmla="*/ 1387 h 1387"/>
                <a:gd name="T8" fmla="*/ 1263 w 1349"/>
                <a:gd name="T9" fmla="*/ 669 h 1387"/>
                <a:gd name="T10" fmla="*/ 1349 w 1349"/>
                <a:gd name="T11" fmla="*/ 292 h 1387"/>
                <a:gd name="T12" fmla="*/ 1035 w 1349"/>
                <a:gd name="T13" fmla="*/ 0 h 1387"/>
                <a:gd name="T14" fmla="*/ 1141 w 1349"/>
                <a:gd name="T15" fmla="*/ 325 h 1387"/>
                <a:gd name="T16" fmla="*/ 1023 w 1349"/>
                <a:gd name="T17" fmla="*/ 329 h 1387"/>
                <a:gd name="T18" fmla="*/ 1018 w 1349"/>
                <a:gd name="T19" fmla="*/ 210 h 1387"/>
                <a:gd name="T20" fmla="*/ 1137 w 1349"/>
                <a:gd name="T21" fmla="*/ 206 h 1387"/>
                <a:gd name="T22" fmla="*/ 1141 w 1349"/>
                <a:gd name="T23" fmla="*/ 325 h 1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49" h="1387">
                  <a:moveTo>
                    <a:pt x="1035" y="0"/>
                  </a:moveTo>
                  <a:cubicBezTo>
                    <a:pt x="665" y="115"/>
                    <a:pt x="665" y="115"/>
                    <a:pt x="665" y="115"/>
                  </a:cubicBezTo>
                  <a:cubicBezTo>
                    <a:pt x="0" y="833"/>
                    <a:pt x="0" y="833"/>
                    <a:pt x="0" y="833"/>
                  </a:cubicBezTo>
                  <a:cubicBezTo>
                    <a:pt x="598" y="1387"/>
                    <a:pt x="598" y="1387"/>
                    <a:pt x="598" y="1387"/>
                  </a:cubicBezTo>
                  <a:cubicBezTo>
                    <a:pt x="1263" y="669"/>
                    <a:pt x="1263" y="669"/>
                    <a:pt x="1263" y="669"/>
                  </a:cubicBezTo>
                  <a:cubicBezTo>
                    <a:pt x="1349" y="292"/>
                    <a:pt x="1349" y="292"/>
                    <a:pt x="1349" y="292"/>
                  </a:cubicBezTo>
                  <a:lnTo>
                    <a:pt x="1035" y="0"/>
                  </a:lnTo>
                  <a:close/>
                  <a:moveTo>
                    <a:pt x="1141" y="325"/>
                  </a:moveTo>
                  <a:cubicBezTo>
                    <a:pt x="1110" y="359"/>
                    <a:pt x="1057" y="361"/>
                    <a:pt x="1023" y="329"/>
                  </a:cubicBezTo>
                  <a:cubicBezTo>
                    <a:pt x="989" y="298"/>
                    <a:pt x="987" y="244"/>
                    <a:pt x="1018" y="210"/>
                  </a:cubicBezTo>
                  <a:cubicBezTo>
                    <a:pt x="1050" y="176"/>
                    <a:pt x="1103" y="174"/>
                    <a:pt x="1137" y="206"/>
                  </a:cubicBezTo>
                  <a:cubicBezTo>
                    <a:pt x="1171" y="237"/>
                    <a:pt x="1173" y="290"/>
                    <a:pt x="1141" y="32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 name="TextBox 6">
            <a:extLst>
              <a:ext uri="{FF2B5EF4-FFF2-40B4-BE49-F238E27FC236}">
                <a16:creationId xmlns:a16="http://schemas.microsoft.com/office/drawing/2014/main" id="{48D19716-2F26-466C-A9A5-E423B2A2C508}"/>
              </a:ext>
            </a:extLst>
          </p:cNvPr>
          <p:cNvSpPr txBox="1"/>
          <p:nvPr/>
        </p:nvSpPr>
        <p:spPr>
          <a:xfrm rot="16200000">
            <a:off x="-244803" y="3086834"/>
            <a:ext cx="1126414" cy="2693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Native</a:t>
            </a:r>
          </a:p>
        </p:txBody>
      </p:sp>
      <p:sp>
        <p:nvSpPr>
          <p:cNvPr id="95" name="TextBox 94">
            <a:extLst>
              <a:ext uri="{FF2B5EF4-FFF2-40B4-BE49-F238E27FC236}">
                <a16:creationId xmlns:a16="http://schemas.microsoft.com/office/drawing/2014/main" id="{2DAAD62D-896B-4676-B09A-3B7B05CB53AE}"/>
              </a:ext>
            </a:extLst>
          </p:cNvPr>
          <p:cNvSpPr txBox="1"/>
          <p:nvPr/>
        </p:nvSpPr>
        <p:spPr>
          <a:xfrm rot="16200000">
            <a:off x="-245554" y="5479259"/>
            <a:ext cx="1126414" cy="2693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Self-directed</a:t>
            </a:r>
          </a:p>
        </p:txBody>
      </p:sp>
      <p:sp>
        <p:nvSpPr>
          <p:cNvPr id="96" name="Textfeld 1">
            <a:extLst>
              <a:ext uri="{FF2B5EF4-FFF2-40B4-BE49-F238E27FC236}">
                <a16:creationId xmlns:a16="http://schemas.microsoft.com/office/drawing/2014/main" id="{12F31640-8834-472E-ACD0-5D3DC17DFC1B}"/>
              </a:ext>
            </a:extLst>
          </p:cNvPr>
          <p:cNvSpPr txBox="1"/>
          <p:nvPr>
            <p:custDataLst>
              <p:tags r:id="rId4"/>
            </p:custDataLst>
          </p:nvPr>
        </p:nvSpPr>
        <p:spPr>
          <a:xfrm>
            <a:off x="25200" y="1015200"/>
            <a:ext cx="2743200" cy="1148007"/>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28.Sep.20:
I combined these into one slide in the interest of reducing slide volume. But, if we want to highlight self-directed customization separately, would break these out.</a:t>
            </a:r>
          </a:p>
        </p:txBody>
      </p:sp>
    </p:spTree>
    <p:extLst>
      <p:ext uri="{BB962C8B-B14F-4D97-AF65-F5344CB8AC3E}">
        <p14:creationId xmlns:p14="http://schemas.microsoft.com/office/powerpoint/2010/main" val="2670420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4968D8-8025-4363-B205-E2A004E9A725}"/>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8" imgW="415" imgH="416" progId="TCLayout.ActiveDocument.1">
                  <p:embed/>
                </p:oleObj>
              </mc:Choice>
              <mc:Fallback>
                <p:oleObj name="think-cell Slide" r:id="rId8" imgW="415" imgH="416" progId="TCLayout.ActiveDocument.1">
                  <p:embed/>
                  <p:pic>
                    <p:nvPicPr>
                      <p:cNvPr id="5" name="Object 4" hidden="1">
                        <a:extLst>
                          <a:ext uri="{FF2B5EF4-FFF2-40B4-BE49-F238E27FC236}">
                            <a16:creationId xmlns:a16="http://schemas.microsoft.com/office/drawing/2014/main" id="{ED4968D8-8025-4363-B205-E2A004E9A72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E2FECE-87C8-431D-989D-91884A7595D4}"/>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6256800" cy="775597"/>
          </a:xfrm>
        </p:spPr>
        <p:txBody>
          <a:bodyPr/>
          <a:lstStyle/>
          <a:p>
            <a:r>
              <a:rPr lang="en-US" sz="2800" dirty="0"/>
              <a:t>Our content library offers a variety of topics for all cohorts</a:t>
            </a:r>
          </a:p>
        </p:txBody>
      </p:sp>
      <p:pic>
        <p:nvPicPr>
          <p:cNvPr id="27" name="Picture 26">
            <a:extLst>
              <a:ext uri="{FF2B5EF4-FFF2-40B4-BE49-F238E27FC236}">
                <a16:creationId xmlns:a16="http://schemas.microsoft.com/office/drawing/2014/main" id="{4E8F6C03-8921-43D7-B0F9-9DA25F46FFB7}"/>
              </a:ext>
            </a:extLst>
          </p:cNvPr>
          <p:cNvPicPr>
            <a:picLocks noChangeAspect="1"/>
          </p:cNvPicPr>
          <p:nvPr/>
        </p:nvPicPr>
        <p:blipFill>
          <a:blip r:embed="rId10"/>
          <a:stretch>
            <a:fillRect/>
          </a:stretch>
        </p:blipFill>
        <p:spPr>
          <a:xfrm>
            <a:off x="5795969" y="2408907"/>
            <a:ext cx="708260" cy="708260"/>
          </a:xfrm>
          <a:prstGeom prst="rect">
            <a:avLst/>
          </a:prstGeom>
        </p:spPr>
      </p:pic>
      <p:pic>
        <p:nvPicPr>
          <p:cNvPr id="29" name="Picture 28">
            <a:extLst>
              <a:ext uri="{FF2B5EF4-FFF2-40B4-BE49-F238E27FC236}">
                <a16:creationId xmlns:a16="http://schemas.microsoft.com/office/drawing/2014/main" id="{311B7FDB-28E6-4BAF-9820-AE0D6D6D0194}"/>
              </a:ext>
            </a:extLst>
          </p:cNvPr>
          <p:cNvPicPr>
            <a:picLocks noChangeAspect="1"/>
          </p:cNvPicPr>
          <p:nvPr/>
        </p:nvPicPr>
        <p:blipFill>
          <a:blip r:embed="rId11"/>
          <a:stretch>
            <a:fillRect/>
          </a:stretch>
        </p:blipFill>
        <p:spPr>
          <a:xfrm>
            <a:off x="3221180" y="3232610"/>
            <a:ext cx="708260" cy="708260"/>
          </a:xfrm>
          <a:prstGeom prst="rect">
            <a:avLst/>
          </a:prstGeom>
        </p:spPr>
      </p:pic>
      <p:pic>
        <p:nvPicPr>
          <p:cNvPr id="46" name="Picture 45">
            <a:extLst>
              <a:ext uri="{FF2B5EF4-FFF2-40B4-BE49-F238E27FC236}">
                <a16:creationId xmlns:a16="http://schemas.microsoft.com/office/drawing/2014/main" id="{8760D918-3786-499F-B9AD-005AE79C0A03}"/>
              </a:ext>
            </a:extLst>
          </p:cNvPr>
          <p:cNvPicPr>
            <a:picLocks noChangeAspect="1"/>
          </p:cNvPicPr>
          <p:nvPr/>
        </p:nvPicPr>
        <p:blipFill>
          <a:blip r:embed="rId12"/>
          <a:stretch>
            <a:fillRect/>
          </a:stretch>
        </p:blipFill>
        <p:spPr>
          <a:xfrm>
            <a:off x="645824" y="3232610"/>
            <a:ext cx="708260" cy="708260"/>
          </a:xfrm>
          <a:prstGeom prst="rect">
            <a:avLst/>
          </a:prstGeom>
        </p:spPr>
      </p:pic>
      <p:pic>
        <p:nvPicPr>
          <p:cNvPr id="31" name="Picture 30">
            <a:extLst>
              <a:ext uri="{FF2B5EF4-FFF2-40B4-BE49-F238E27FC236}">
                <a16:creationId xmlns:a16="http://schemas.microsoft.com/office/drawing/2014/main" id="{8B2D2D14-7675-4B1C-B99F-EA578A9873C1}"/>
              </a:ext>
            </a:extLst>
          </p:cNvPr>
          <p:cNvPicPr>
            <a:picLocks noChangeAspect="1"/>
          </p:cNvPicPr>
          <p:nvPr/>
        </p:nvPicPr>
        <p:blipFill>
          <a:blip r:embed="rId13"/>
          <a:stretch>
            <a:fillRect/>
          </a:stretch>
        </p:blipFill>
        <p:spPr>
          <a:xfrm>
            <a:off x="641213" y="4009523"/>
            <a:ext cx="708260" cy="708260"/>
          </a:xfrm>
          <a:prstGeom prst="rect">
            <a:avLst/>
          </a:prstGeom>
        </p:spPr>
      </p:pic>
      <p:pic>
        <p:nvPicPr>
          <p:cNvPr id="32" name="Picture 31">
            <a:extLst>
              <a:ext uri="{FF2B5EF4-FFF2-40B4-BE49-F238E27FC236}">
                <a16:creationId xmlns:a16="http://schemas.microsoft.com/office/drawing/2014/main" id="{1055E404-BA9E-4AF5-9DCA-AD79CEFD66A6}"/>
              </a:ext>
            </a:extLst>
          </p:cNvPr>
          <p:cNvPicPr>
            <a:picLocks noChangeAspect="1"/>
          </p:cNvPicPr>
          <p:nvPr/>
        </p:nvPicPr>
        <p:blipFill>
          <a:blip r:embed="rId14"/>
          <a:stretch>
            <a:fillRect/>
          </a:stretch>
        </p:blipFill>
        <p:spPr>
          <a:xfrm>
            <a:off x="1933785" y="2408907"/>
            <a:ext cx="708260" cy="708260"/>
          </a:xfrm>
          <a:prstGeom prst="rect">
            <a:avLst/>
          </a:prstGeom>
        </p:spPr>
      </p:pic>
      <p:pic>
        <p:nvPicPr>
          <p:cNvPr id="36" name="Picture 35">
            <a:extLst>
              <a:ext uri="{FF2B5EF4-FFF2-40B4-BE49-F238E27FC236}">
                <a16:creationId xmlns:a16="http://schemas.microsoft.com/office/drawing/2014/main" id="{67D6D4A6-3326-4FCB-9EF7-173B84E146AA}"/>
              </a:ext>
            </a:extLst>
          </p:cNvPr>
          <p:cNvPicPr>
            <a:picLocks noChangeAspect="1"/>
          </p:cNvPicPr>
          <p:nvPr/>
        </p:nvPicPr>
        <p:blipFill>
          <a:blip r:embed="rId15"/>
          <a:stretch>
            <a:fillRect/>
          </a:stretch>
        </p:blipFill>
        <p:spPr>
          <a:xfrm>
            <a:off x="4508575" y="4833444"/>
            <a:ext cx="708260" cy="708260"/>
          </a:xfrm>
          <a:prstGeom prst="rect">
            <a:avLst/>
          </a:prstGeom>
        </p:spPr>
      </p:pic>
      <p:pic>
        <p:nvPicPr>
          <p:cNvPr id="37" name="Picture 36">
            <a:extLst>
              <a:ext uri="{FF2B5EF4-FFF2-40B4-BE49-F238E27FC236}">
                <a16:creationId xmlns:a16="http://schemas.microsoft.com/office/drawing/2014/main" id="{6C455DDE-4F37-48AB-A632-50D2D706420B}"/>
              </a:ext>
            </a:extLst>
          </p:cNvPr>
          <p:cNvPicPr>
            <a:picLocks noChangeAspect="1"/>
          </p:cNvPicPr>
          <p:nvPr/>
        </p:nvPicPr>
        <p:blipFill>
          <a:blip r:embed="rId16"/>
          <a:stretch>
            <a:fillRect/>
          </a:stretch>
        </p:blipFill>
        <p:spPr>
          <a:xfrm>
            <a:off x="641213" y="4833444"/>
            <a:ext cx="708260" cy="708260"/>
          </a:xfrm>
          <a:prstGeom prst="rect">
            <a:avLst/>
          </a:prstGeom>
        </p:spPr>
      </p:pic>
      <p:pic>
        <p:nvPicPr>
          <p:cNvPr id="41" name="Picture 40">
            <a:extLst>
              <a:ext uri="{FF2B5EF4-FFF2-40B4-BE49-F238E27FC236}">
                <a16:creationId xmlns:a16="http://schemas.microsoft.com/office/drawing/2014/main" id="{A9F85C48-7545-4ED1-BDBC-B8F80D3101FB}"/>
              </a:ext>
            </a:extLst>
          </p:cNvPr>
          <p:cNvPicPr>
            <a:picLocks noChangeAspect="1"/>
          </p:cNvPicPr>
          <p:nvPr/>
        </p:nvPicPr>
        <p:blipFill>
          <a:blip r:embed="rId17"/>
          <a:stretch>
            <a:fillRect/>
          </a:stretch>
        </p:blipFill>
        <p:spPr>
          <a:xfrm>
            <a:off x="4508575" y="2408907"/>
            <a:ext cx="708260" cy="708260"/>
          </a:xfrm>
          <a:prstGeom prst="rect">
            <a:avLst/>
          </a:prstGeom>
        </p:spPr>
      </p:pic>
      <p:pic>
        <p:nvPicPr>
          <p:cNvPr id="45" name="Picture 44">
            <a:extLst>
              <a:ext uri="{FF2B5EF4-FFF2-40B4-BE49-F238E27FC236}">
                <a16:creationId xmlns:a16="http://schemas.microsoft.com/office/drawing/2014/main" id="{F9CE7092-ACF7-4544-BE0C-CAAA06BDB97F}"/>
              </a:ext>
            </a:extLst>
          </p:cNvPr>
          <p:cNvPicPr>
            <a:picLocks noChangeAspect="1"/>
          </p:cNvPicPr>
          <p:nvPr/>
        </p:nvPicPr>
        <p:blipFill>
          <a:blip r:embed="rId18"/>
          <a:stretch>
            <a:fillRect/>
          </a:stretch>
        </p:blipFill>
        <p:spPr>
          <a:xfrm>
            <a:off x="4508575" y="4009523"/>
            <a:ext cx="708260" cy="708260"/>
          </a:xfrm>
          <a:prstGeom prst="rect">
            <a:avLst/>
          </a:prstGeom>
        </p:spPr>
      </p:pic>
      <p:pic>
        <p:nvPicPr>
          <p:cNvPr id="48" name="Picture 47">
            <a:extLst>
              <a:ext uri="{FF2B5EF4-FFF2-40B4-BE49-F238E27FC236}">
                <a16:creationId xmlns:a16="http://schemas.microsoft.com/office/drawing/2014/main" id="{CF63EB14-09D5-4083-8042-16F539D946AD}"/>
              </a:ext>
            </a:extLst>
          </p:cNvPr>
          <p:cNvPicPr>
            <a:picLocks noChangeAspect="1"/>
          </p:cNvPicPr>
          <p:nvPr/>
        </p:nvPicPr>
        <p:blipFill>
          <a:blip r:embed="rId19"/>
          <a:stretch>
            <a:fillRect/>
          </a:stretch>
        </p:blipFill>
        <p:spPr>
          <a:xfrm>
            <a:off x="3221180" y="2408907"/>
            <a:ext cx="708260" cy="708260"/>
          </a:xfrm>
          <a:prstGeom prst="rect">
            <a:avLst/>
          </a:prstGeom>
        </p:spPr>
      </p:pic>
      <p:pic>
        <p:nvPicPr>
          <p:cNvPr id="44" name="Picture 43">
            <a:extLst>
              <a:ext uri="{FF2B5EF4-FFF2-40B4-BE49-F238E27FC236}">
                <a16:creationId xmlns:a16="http://schemas.microsoft.com/office/drawing/2014/main" id="{AB7F57B8-E63E-4EEE-B258-109320292BCE}"/>
              </a:ext>
            </a:extLst>
          </p:cNvPr>
          <p:cNvPicPr>
            <a:picLocks noChangeAspect="1"/>
          </p:cNvPicPr>
          <p:nvPr/>
        </p:nvPicPr>
        <p:blipFill>
          <a:blip r:embed="rId20"/>
          <a:stretch>
            <a:fillRect/>
          </a:stretch>
        </p:blipFill>
        <p:spPr>
          <a:xfrm>
            <a:off x="4508575" y="3232610"/>
            <a:ext cx="708260" cy="707693"/>
          </a:xfrm>
          <a:prstGeom prst="rect">
            <a:avLst/>
          </a:prstGeom>
        </p:spPr>
      </p:pic>
      <p:pic>
        <p:nvPicPr>
          <p:cNvPr id="30" name="Picture 29">
            <a:extLst>
              <a:ext uri="{FF2B5EF4-FFF2-40B4-BE49-F238E27FC236}">
                <a16:creationId xmlns:a16="http://schemas.microsoft.com/office/drawing/2014/main" id="{8B66C0CC-6BA7-4CFF-B5F0-78C24176DD51}"/>
              </a:ext>
            </a:extLst>
          </p:cNvPr>
          <p:cNvPicPr>
            <a:picLocks noChangeAspect="1"/>
          </p:cNvPicPr>
          <p:nvPr/>
        </p:nvPicPr>
        <p:blipFill>
          <a:blip r:embed="rId21"/>
          <a:stretch>
            <a:fillRect/>
          </a:stretch>
        </p:blipFill>
        <p:spPr>
          <a:xfrm>
            <a:off x="5795969" y="4833444"/>
            <a:ext cx="708260" cy="708260"/>
          </a:xfrm>
          <a:prstGeom prst="rect">
            <a:avLst/>
          </a:prstGeom>
        </p:spPr>
      </p:pic>
      <p:pic>
        <p:nvPicPr>
          <p:cNvPr id="42" name="Picture 41">
            <a:extLst>
              <a:ext uri="{FF2B5EF4-FFF2-40B4-BE49-F238E27FC236}">
                <a16:creationId xmlns:a16="http://schemas.microsoft.com/office/drawing/2014/main" id="{6C125733-EF63-449F-8AC0-8B9A05FC9C78}"/>
              </a:ext>
            </a:extLst>
          </p:cNvPr>
          <p:cNvPicPr>
            <a:picLocks noChangeAspect="1"/>
          </p:cNvPicPr>
          <p:nvPr/>
        </p:nvPicPr>
        <p:blipFill>
          <a:blip r:embed="rId22"/>
          <a:stretch>
            <a:fillRect/>
          </a:stretch>
        </p:blipFill>
        <p:spPr>
          <a:xfrm>
            <a:off x="1933785" y="4009523"/>
            <a:ext cx="708260" cy="708260"/>
          </a:xfrm>
          <a:prstGeom prst="rect">
            <a:avLst/>
          </a:prstGeom>
        </p:spPr>
      </p:pic>
      <p:pic>
        <p:nvPicPr>
          <p:cNvPr id="47" name="Picture 46">
            <a:extLst>
              <a:ext uri="{FF2B5EF4-FFF2-40B4-BE49-F238E27FC236}">
                <a16:creationId xmlns:a16="http://schemas.microsoft.com/office/drawing/2014/main" id="{B5444E99-756F-4040-AAA7-31E4BB6A2351}"/>
              </a:ext>
            </a:extLst>
          </p:cNvPr>
          <p:cNvPicPr>
            <a:picLocks noChangeAspect="1"/>
          </p:cNvPicPr>
          <p:nvPr/>
        </p:nvPicPr>
        <p:blipFill>
          <a:blip r:embed="rId23"/>
          <a:stretch>
            <a:fillRect/>
          </a:stretch>
        </p:blipFill>
        <p:spPr>
          <a:xfrm>
            <a:off x="3221180" y="4833444"/>
            <a:ext cx="708260" cy="708260"/>
          </a:xfrm>
          <a:prstGeom prst="rect">
            <a:avLst/>
          </a:prstGeom>
        </p:spPr>
      </p:pic>
      <p:pic>
        <p:nvPicPr>
          <p:cNvPr id="43" name="Picture 42">
            <a:extLst>
              <a:ext uri="{FF2B5EF4-FFF2-40B4-BE49-F238E27FC236}">
                <a16:creationId xmlns:a16="http://schemas.microsoft.com/office/drawing/2014/main" id="{CE2103BD-72D2-477B-A6F7-3E7F98A389D3}"/>
              </a:ext>
            </a:extLst>
          </p:cNvPr>
          <p:cNvPicPr>
            <a:picLocks noChangeAspect="1"/>
          </p:cNvPicPr>
          <p:nvPr/>
        </p:nvPicPr>
        <p:blipFill>
          <a:blip r:embed="rId24"/>
          <a:stretch>
            <a:fillRect/>
          </a:stretch>
        </p:blipFill>
        <p:spPr>
          <a:xfrm>
            <a:off x="3221180" y="5648599"/>
            <a:ext cx="708260" cy="708260"/>
          </a:xfrm>
          <a:prstGeom prst="rect">
            <a:avLst/>
          </a:prstGeom>
        </p:spPr>
      </p:pic>
      <p:sp>
        <p:nvSpPr>
          <p:cNvPr id="50" name="Rectangle 49">
            <a:extLst>
              <a:ext uri="{FF2B5EF4-FFF2-40B4-BE49-F238E27FC236}">
                <a16:creationId xmlns:a16="http://schemas.microsoft.com/office/drawing/2014/main" id="{3DE7180A-B293-47AF-9D43-AA2CB4FE0F5B}"/>
              </a:ext>
            </a:extLst>
          </p:cNvPr>
          <p:cNvSpPr/>
          <p:nvPr/>
        </p:nvSpPr>
        <p:spPr>
          <a:xfrm>
            <a:off x="7701648" y="2714414"/>
            <a:ext cx="1287536" cy="1106656"/>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Future of </a:t>
            </a:r>
            <a:br>
              <a:rPr lang="en-US" sz="1400" dirty="0">
                <a:solidFill>
                  <a:srgbClr val="575757"/>
                </a:solidFill>
              </a:rPr>
            </a:br>
            <a:r>
              <a:rPr lang="en-US" sz="1400" dirty="0">
                <a:solidFill>
                  <a:srgbClr val="575757"/>
                </a:solidFill>
              </a:rPr>
              <a:t>the planet/ Climate change</a:t>
            </a:r>
          </a:p>
        </p:txBody>
      </p:sp>
      <p:sp>
        <p:nvSpPr>
          <p:cNvPr id="54" name="Rectangle 53">
            <a:extLst>
              <a:ext uri="{FF2B5EF4-FFF2-40B4-BE49-F238E27FC236}">
                <a16:creationId xmlns:a16="http://schemas.microsoft.com/office/drawing/2014/main" id="{DEAFD339-C91D-4553-8F97-24A63B045A5B}"/>
              </a:ext>
            </a:extLst>
          </p:cNvPr>
          <p:cNvSpPr/>
          <p:nvPr/>
        </p:nvSpPr>
        <p:spPr>
          <a:xfrm>
            <a:off x="7701648" y="3970922"/>
            <a:ext cx="1287536" cy="1106656"/>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Leading Change</a:t>
            </a:r>
          </a:p>
        </p:txBody>
      </p:sp>
      <p:sp>
        <p:nvSpPr>
          <p:cNvPr id="56" name="Rectangle 55">
            <a:extLst>
              <a:ext uri="{FF2B5EF4-FFF2-40B4-BE49-F238E27FC236}">
                <a16:creationId xmlns:a16="http://schemas.microsoft.com/office/drawing/2014/main" id="{4CB5F53A-8C67-40CF-AF6F-CB7F24BA1509}"/>
              </a:ext>
            </a:extLst>
          </p:cNvPr>
          <p:cNvSpPr/>
          <p:nvPr/>
        </p:nvSpPr>
        <p:spPr>
          <a:xfrm>
            <a:off x="9079624" y="3970922"/>
            <a:ext cx="1287536" cy="1106656"/>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MDT </a:t>
            </a:r>
            <a:br>
              <a:rPr lang="en-US" sz="1400" dirty="0">
                <a:solidFill>
                  <a:srgbClr val="575757"/>
                </a:solidFill>
              </a:rPr>
            </a:br>
            <a:r>
              <a:rPr lang="en-US" sz="1400" dirty="0">
                <a:solidFill>
                  <a:srgbClr val="575757"/>
                </a:solidFill>
              </a:rPr>
              <a:t>Season 2</a:t>
            </a:r>
          </a:p>
        </p:txBody>
      </p:sp>
      <p:sp>
        <p:nvSpPr>
          <p:cNvPr id="51" name="Rectangle 50">
            <a:extLst>
              <a:ext uri="{FF2B5EF4-FFF2-40B4-BE49-F238E27FC236}">
                <a16:creationId xmlns:a16="http://schemas.microsoft.com/office/drawing/2014/main" id="{19B82EDC-C0E6-42BF-B983-798BF78A67D8}"/>
              </a:ext>
            </a:extLst>
          </p:cNvPr>
          <p:cNvSpPr/>
          <p:nvPr/>
        </p:nvSpPr>
        <p:spPr>
          <a:xfrm>
            <a:off x="9079624" y="2714414"/>
            <a:ext cx="1287536" cy="1106656"/>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Your idea here!</a:t>
            </a:r>
          </a:p>
        </p:txBody>
      </p:sp>
      <p:pic>
        <p:nvPicPr>
          <p:cNvPr id="7" name="Picture 6">
            <a:extLst>
              <a:ext uri="{FF2B5EF4-FFF2-40B4-BE49-F238E27FC236}">
                <a16:creationId xmlns:a16="http://schemas.microsoft.com/office/drawing/2014/main" id="{1CDC0DC6-00E3-44D4-A8D1-227E2F3043CF}"/>
              </a:ext>
            </a:extLst>
          </p:cNvPr>
          <p:cNvPicPr>
            <a:picLocks noChangeAspect="1"/>
          </p:cNvPicPr>
          <p:nvPr/>
        </p:nvPicPr>
        <p:blipFill>
          <a:blip r:embed="rId25"/>
          <a:stretch>
            <a:fillRect/>
          </a:stretch>
        </p:blipFill>
        <p:spPr>
          <a:xfrm>
            <a:off x="3221180" y="4009523"/>
            <a:ext cx="708260" cy="708260"/>
          </a:xfrm>
          <a:prstGeom prst="rect">
            <a:avLst/>
          </a:prstGeom>
        </p:spPr>
      </p:pic>
      <p:pic>
        <p:nvPicPr>
          <p:cNvPr id="8" name="Picture 7">
            <a:extLst>
              <a:ext uri="{FF2B5EF4-FFF2-40B4-BE49-F238E27FC236}">
                <a16:creationId xmlns:a16="http://schemas.microsoft.com/office/drawing/2014/main" id="{8D06E0C5-F7AB-4C7F-B837-B4B50284DCCA}"/>
              </a:ext>
            </a:extLst>
          </p:cNvPr>
          <p:cNvPicPr>
            <a:picLocks noChangeAspect="1"/>
          </p:cNvPicPr>
          <p:nvPr/>
        </p:nvPicPr>
        <p:blipFill>
          <a:blip r:embed="rId26"/>
          <a:stretch>
            <a:fillRect/>
          </a:stretch>
        </p:blipFill>
        <p:spPr>
          <a:xfrm>
            <a:off x="5795969" y="3232610"/>
            <a:ext cx="708260" cy="708260"/>
          </a:xfrm>
          <a:prstGeom prst="rect">
            <a:avLst/>
          </a:prstGeom>
        </p:spPr>
      </p:pic>
      <p:sp>
        <p:nvSpPr>
          <p:cNvPr id="58" name="ee4pHeader2">
            <a:extLst>
              <a:ext uri="{FF2B5EF4-FFF2-40B4-BE49-F238E27FC236}">
                <a16:creationId xmlns:a16="http://schemas.microsoft.com/office/drawing/2014/main" id="{36C160D4-680E-419B-A094-8DAEE08A167A}"/>
              </a:ext>
            </a:extLst>
          </p:cNvPr>
          <p:cNvSpPr txBox="1"/>
          <p:nvPr/>
        </p:nvSpPr>
        <p:spPr>
          <a:xfrm>
            <a:off x="7701648" y="1390737"/>
            <a:ext cx="3682926" cy="1173825"/>
          </a:xfrm>
          <a:prstGeom prst="rect">
            <a:avLst/>
          </a:prstGeom>
          <a:noFill/>
          <a:ln cap="rnd">
            <a:noFill/>
          </a:ln>
        </p:spPr>
        <p:txBody>
          <a:bodyPr wrap="square" lIns="0" tIns="0" rIns="0" bIns="0" rtlCol="0" anchor="b">
            <a:noAutofit/>
          </a:bodyPr>
          <a:lstStyle/>
          <a:p>
            <a:pPr marL="0" lvl="3"/>
            <a:r>
              <a:rPr lang="en-US" sz="2400" dirty="0">
                <a:solidFill>
                  <a:srgbClr val="D4DF33"/>
                </a:solidFill>
              </a:rPr>
              <a:t>Pipeline</a:t>
            </a:r>
          </a:p>
        </p:txBody>
      </p:sp>
      <p:sp>
        <p:nvSpPr>
          <p:cNvPr id="33" name="ee4pHeader2">
            <a:extLst>
              <a:ext uri="{FF2B5EF4-FFF2-40B4-BE49-F238E27FC236}">
                <a16:creationId xmlns:a16="http://schemas.microsoft.com/office/drawing/2014/main" id="{BEFFDD8F-FF2C-48FC-A59E-4E39F69D2348}"/>
              </a:ext>
            </a:extLst>
          </p:cNvPr>
          <p:cNvSpPr txBox="1"/>
          <p:nvPr/>
        </p:nvSpPr>
        <p:spPr>
          <a:xfrm>
            <a:off x="645824" y="1765426"/>
            <a:ext cx="3682926" cy="536586"/>
          </a:xfrm>
          <a:prstGeom prst="rect">
            <a:avLst/>
          </a:prstGeom>
          <a:noFill/>
          <a:ln cap="rnd">
            <a:noFill/>
          </a:ln>
        </p:spPr>
        <p:txBody>
          <a:bodyPr wrap="square" lIns="0" tIns="0" rIns="0" bIns="0" rtlCol="0" anchor="b">
            <a:noAutofit/>
          </a:bodyPr>
          <a:lstStyle/>
          <a:p>
            <a:pPr marL="0" lvl="3"/>
            <a:r>
              <a:rPr lang="en-US" sz="2400" dirty="0">
                <a:solidFill>
                  <a:srgbClr val="29BA74"/>
                </a:solidFill>
              </a:rPr>
              <a:t>Current series</a:t>
            </a:r>
          </a:p>
        </p:txBody>
      </p:sp>
      <p:pic>
        <p:nvPicPr>
          <p:cNvPr id="9" name="Picture 8">
            <a:extLst>
              <a:ext uri="{FF2B5EF4-FFF2-40B4-BE49-F238E27FC236}">
                <a16:creationId xmlns:a16="http://schemas.microsoft.com/office/drawing/2014/main" id="{B0693F44-E6B2-4E29-9EC4-6D0DB9B5284F}"/>
              </a:ext>
            </a:extLst>
          </p:cNvPr>
          <p:cNvPicPr>
            <a:picLocks noChangeAspect="1"/>
          </p:cNvPicPr>
          <p:nvPr/>
        </p:nvPicPr>
        <p:blipFill>
          <a:blip r:embed="rId27"/>
          <a:stretch>
            <a:fillRect/>
          </a:stretch>
        </p:blipFill>
        <p:spPr>
          <a:xfrm>
            <a:off x="645824" y="2408907"/>
            <a:ext cx="708826" cy="708260"/>
          </a:xfrm>
          <a:prstGeom prst="rect">
            <a:avLst/>
          </a:prstGeom>
        </p:spPr>
      </p:pic>
      <p:pic>
        <p:nvPicPr>
          <p:cNvPr id="11" name="Picture 10">
            <a:extLst>
              <a:ext uri="{FF2B5EF4-FFF2-40B4-BE49-F238E27FC236}">
                <a16:creationId xmlns:a16="http://schemas.microsoft.com/office/drawing/2014/main" id="{E87F5A27-6751-4C7C-94D7-A2B27CF43230}"/>
              </a:ext>
            </a:extLst>
          </p:cNvPr>
          <p:cNvPicPr>
            <a:picLocks noChangeAspect="1"/>
          </p:cNvPicPr>
          <p:nvPr/>
        </p:nvPicPr>
        <p:blipFill>
          <a:blip r:embed="rId28"/>
          <a:stretch>
            <a:fillRect/>
          </a:stretch>
        </p:blipFill>
        <p:spPr>
          <a:xfrm>
            <a:off x="641213" y="5648599"/>
            <a:ext cx="708260" cy="708260"/>
          </a:xfrm>
          <a:prstGeom prst="rect">
            <a:avLst/>
          </a:prstGeom>
        </p:spPr>
      </p:pic>
      <p:pic>
        <p:nvPicPr>
          <p:cNvPr id="13" name="Picture 12">
            <a:extLst>
              <a:ext uri="{FF2B5EF4-FFF2-40B4-BE49-F238E27FC236}">
                <a16:creationId xmlns:a16="http://schemas.microsoft.com/office/drawing/2014/main" id="{923DE235-40D0-4D79-9290-91802B359AA0}"/>
              </a:ext>
            </a:extLst>
          </p:cNvPr>
          <p:cNvPicPr>
            <a:picLocks noChangeAspect="1"/>
          </p:cNvPicPr>
          <p:nvPr/>
        </p:nvPicPr>
        <p:blipFill>
          <a:blip r:embed="rId29"/>
          <a:stretch>
            <a:fillRect/>
          </a:stretch>
        </p:blipFill>
        <p:spPr>
          <a:xfrm>
            <a:off x="1933785" y="3232610"/>
            <a:ext cx="708940" cy="708260"/>
          </a:xfrm>
          <a:prstGeom prst="rect">
            <a:avLst/>
          </a:prstGeom>
        </p:spPr>
      </p:pic>
      <p:pic>
        <p:nvPicPr>
          <p:cNvPr id="15" name="Picture 14">
            <a:extLst>
              <a:ext uri="{FF2B5EF4-FFF2-40B4-BE49-F238E27FC236}">
                <a16:creationId xmlns:a16="http://schemas.microsoft.com/office/drawing/2014/main" id="{C86CBB1A-D4BA-44E9-BF3C-D79CB7B68BCD}"/>
              </a:ext>
            </a:extLst>
          </p:cNvPr>
          <p:cNvPicPr>
            <a:picLocks noChangeAspect="1"/>
          </p:cNvPicPr>
          <p:nvPr/>
        </p:nvPicPr>
        <p:blipFill>
          <a:blip r:embed="rId30"/>
          <a:stretch>
            <a:fillRect/>
          </a:stretch>
        </p:blipFill>
        <p:spPr>
          <a:xfrm>
            <a:off x="1933785" y="4833444"/>
            <a:ext cx="708260" cy="708260"/>
          </a:xfrm>
          <a:prstGeom prst="rect">
            <a:avLst/>
          </a:prstGeom>
        </p:spPr>
      </p:pic>
      <p:pic>
        <p:nvPicPr>
          <p:cNvPr id="17" name="Picture 16">
            <a:extLst>
              <a:ext uri="{FF2B5EF4-FFF2-40B4-BE49-F238E27FC236}">
                <a16:creationId xmlns:a16="http://schemas.microsoft.com/office/drawing/2014/main" id="{8CCDBC50-5C4E-4753-8DDD-91ED67939496}"/>
              </a:ext>
            </a:extLst>
          </p:cNvPr>
          <p:cNvPicPr>
            <a:picLocks noChangeAspect="1"/>
          </p:cNvPicPr>
          <p:nvPr/>
        </p:nvPicPr>
        <p:blipFill>
          <a:blip r:embed="rId31"/>
          <a:stretch>
            <a:fillRect/>
          </a:stretch>
        </p:blipFill>
        <p:spPr>
          <a:xfrm>
            <a:off x="1933785" y="5648599"/>
            <a:ext cx="708260" cy="708260"/>
          </a:xfrm>
          <a:prstGeom prst="rect">
            <a:avLst/>
          </a:prstGeom>
        </p:spPr>
      </p:pic>
      <p:pic>
        <p:nvPicPr>
          <p:cNvPr id="34" name="Picture 33">
            <a:extLst>
              <a:ext uri="{FF2B5EF4-FFF2-40B4-BE49-F238E27FC236}">
                <a16:creationId xmlns:a16="http://schemas.microsoft.com/office/drawing/2014/main" id="{6B162AE4-3836-4D1B-AFE9-4E94E9E25A93}"/>
              </a:ext>
            </a:extLst>
          </p:cNvPr>
          <p:cNvPicPr>
            <a:picLocks noChangeAspect="1"/>
          </p:cNvPicPr>
          <p:nvPr/>
        </p:nvPicPr>
        <p:blipFill>
          <a:blip r:embed="rId32"/>
          <a:stretch>
            <a:fillRect/>
          </a:stretch>
        </p:blipFill>
        <p:spPr>
          <a:xfrm>
            <a:off x="5795969" y="4009523"/>
            <a:ext cx="708260" cy="708260"/>
          </a:xfrm>
          <a:prstGeom prst="rect">
            <a:avLst/>
          </a:prstGeom>
        </p:spPr>
      </p:pic>
      <p:sp>
        <p:nvSpPr>
          <p:cNvPr id="35" name="Textfeld 1">
            <a:extLst>
              <a:ext uri="{FF2B5EF4-FFF2-40B4-BE49-F238E27FC236}">
                <a16:creationId xmlns:a16="http://schemas.microsoft.com/office/drawing/2014/main" id="{C585A34A-C1B4-458D-83F7-DFB2C87EC361}"/>
              </a:ext>
            </a:extLst>
          </p:cNvPr>
          <p:cNvSpPr txBox="1"/>
          <p:nvPr>
            <p:custDataLst>
              <p:tags r:id="rId5"/>
            </p:custDataLst>
          </p:nvPr>
        </p:nvSpPr>
        <p:spPr>
          <a:xfrm>
            <a:off x="25200" y="1015200"/>
            <a:ext cx="2743200" cy="815608"/>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28.Sep.20:
example from </a:t>
            </a:r>
            <a:r>
              <a:rPr lang="en-US" sz="1200" b="1" dirty="0" err="1">
                <a:solidFill>
                  <a:srgbClr val="575757"/>
                </a:solidFill>
                <a:sym typeface="Trebuchet MS" panose="020B0603020202020204" pitchFamily="34" charset="0"/>
              </a:rPr>
              <a:t>LABcasts</a:t>
            </a:r>
            <a:r>
              <a:rPr lang="en-US" sz="1200" b="1" dirty="0">
                <a:solidFill>
                  <a:srgbClr val="575757"/>
                </a:solidFill>
                <a:sym typeface="Trebuchet MS" panose="020B0603020202020204" pitchFamily="34" charset="0"/>
              </a:rPr>
              <a:t> playbook – should we include something like this about what is available in LAB?</a:t>
            </a:r>
          </a:p>
        </p:txBody>
      </p:sp>
    </p:spTree>
    <p:custDataLst>
      <p:tags r:id="rId2"/>
    </p:custDataLst>
    <p:extLst>
      <p:ext uri="{BB962C8B-B14F-4D97-AF65-F5344CB8AC3E}">
        <p14:creationId xmlns:p14="http://schemas.microsoft.com/office/powerpoint/2010/main" val="1673879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ailor LAB to fit your learner's needs</a:t>
            </a:r>
          </a:p>
        </p:txBody>
      </p:sp>
      <p:grpSp>
        <p:nvGrpSpPr>
          <p:cNvPr id="4" name="Group 3">
            <a:extLst>
              <a:ext uri="{FF2B5EF4-FFF2-40B4-BE49-F238E27FC236}">
                <a16:creationId xmlns:a16="http://schemas.microsoft.com/office/drawing/2014/main" id="{192626D9-42FA-408C-A72B-61D93F85C87D}"/>
              </a:ext>
            </a:extLst>
          </p:cNvPr>
          <p:cNvGrpSpPr>
            <a:grpSpLocks noChangeAspect="1"/>
          </p:cNvGrpSpPr>
          <p:nvPr/>
        </p:nvGrpSpPr>
        <p:grpSpPr>
          <a:xfrm>
            <a:off x="730250" y="4502150"/>
            <a:ext cx="1644650" cy="1644650"/>
            <a:chOff x="5273675" y="2606675"/>
            <a:chExt cx="1644650" cy="1644650"/>
          </a:xfrm>
        </p:grpSpPr>
        <p:sp>
          <p:nvSpPr>
            <p:cNvPr id="5" name="AutoShape 16">
              <a:extLst>
                <a:ext uri="{FF2B5EF4-FFF2-40B4-BE49-F238E27FC236}">
                  <a16:creationId xmlns:a16="http://schemas.microsoft.com/office/drawing/2014/main" id="{6638D3F3-5CB7-4D40-83C1-91F4B954E935}"/>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 name="Group 5">
              <a:extLst>
                <a:ext uri="{FF2B5EF4-FFF2-40B4-BE49-F238E27FC236}">
                  <a16:creationId xmlns:a16="http://schemas.microsoft.com/office/drawing/2014/main" id="{B321AE51-5A91-465B-8CFB-65B16AE0D5EA}"/>
                </a:ext>
              </a:extLst>
            </p:cNvPr>
            <p:cNvGrpSpPr/>
            <p:nvPr/>
          </p:nvGrpSpPr>
          <p:grpSpPr>
            <a:xfrm>
              <a:off x="5541963" y="2881313"/>
              <a:ext cx="1103313" cy="1096963"/>
              <a:chOff x="5541963" y="2881313"/>
              <a:chExt cx="1103313" cy="1096963"/>
            </a:xfrm>
          </p:grpSpPr>
          <p:sp>
            <p:nvSpPr>
              <p:cNvPr id="7" name="Freeform 41">
                <a:extLst>
                  <a:ext uri="{FF2B5EF4-FFF2-40B4-BE49-F238E27FC236}">
                    <a16:creationId xmlns:a16="http://schemas.microsoft.com/office/drawing/2014/main" id="{F5A5FDC9-8BE2-4182-B5ED-9775D014A36B}"/>
                  </a:ext>
                </a:extLst>
              </p:cNvPr>
              <p:cNvSpPr>
                <a:spLocks/>
              </p:cNvSpPr>
              <p:nvPr/>
            </p:nvSpPr>
            <p:spPr bwMode="auto">
              <a:xfrm>
                <a:off x="5541963" y="2881313"/>
                <a:ext cx="1103313" cy="1096963"/>
              </a:xfrm>
              <a:custGeom>
                <a:avLst/>
                <a:gdLst>
                  <a:gd name="connsiteX0" fmla="*/ 627062 w 1103313"/>
                  <a:gd name="connsiteY0" fmla="*/ 808037 h 1096963"/>
                  <a:gd name="connsiteX1" fmla="*/ 876412 w 1103313"/>
                  <a:gd name="connsiteY1" fmla="*/ 808037 h 1096963"/>
                  <a:gd name="connsiteX2" fmla="*/ 892175 w 1103313"/>
                  <a:gd name="connsiteY2" fmla="*/ 823119 h 1096963"/>
                  <a:gd name="connsiteX3" fmla="*/ 876412 w 1103313"/>
                  <a:gd name="connsiteY3" fmla="*/ 838200 h 1096963"/>
                  <a:gd name="connsiteX4" fmla="*/ 627062 w 1103313"/>
                  <a:gd name="connsiteY4" fmla="*/ 838200 h 1096963"/>
                  <a:gd name="connsiteX5" fmla="*/ 627062 w 1103313"/>
                  <a:gd name="connsiteY5" fmla="*/ 808037 h 1096963"/>
                  <a:gd name="connsiteX6" fmla="*/ 228361 w 1103313"/>
                  <a:gd name="connsiteY6" fmla="*/ 808037 h 1096963"/>
                  <a:gd name="connsiteX7" fmla="*/ 382588 w 1103313"/>
                  <a:gd name="connsiteY7" fmla="*/ 808037 h 1096963"/>
                  <a:gd name="connsiteX8" fmla="*/ 382588 w 1103313"/>
                  <a:gd name="connsiteY8" fmla="*/ 838200 h 1096963"/>
                  <a:gd name="connsiteX9" fmla="*/ 228361 w 1103313"/>
                  <a:gd name="connsiteY9" fmla="*/ 838200 h 1096963"/>
                  <a:gd name="connsiteX10" fmla="*/ 212725 w 1103313"/>
                  <a:gd name="connsiteY10" fmla="*/ 823119 h 1096963"/>
                  <a:gd name="connsiteX11" fmla="*/ 228361 w 1103313"/>
                  <a:gd name="connsiteY11" fmla="*/ 808037 h 1096963"/>
                  <a:gd name="connsiteX12" fmla="*/ 722312 w 1103313"/>
                  <a:gd name="connsiteY12" fmla="*/ 531812 h 1096963"/>
                  <a:gd name="connsiteX13" fmla="*/ 876474 w 1103313"/>
                  <a:gd name="connsiteY13" fmla="*/ 531812 h 1096963"/>
                  <a:gd name="connsiteX14" fmla="*/ 892175 w 1103313"/>
                  <a:gd name="connsiteY14" fmla="*/ 546894 h 1096963"/>
                  <a:gd name="connsiteX15" fmla="*/ 876474 w 1103313"/>
                  <a:gd name="connsiteY15" fmla="*/ 561975 h 1096963"/>
                  <a:gd name="connsiteX16" fmla="*/ 722312 w 1103313"/>
                  <a:gd name="connsiteY16" fmla="*/ 561975 h 1096963"/>
                  <a:gd name="connsiteX17" fmla="*/ 722312 w 1103313"/>
                  <a:gd name="connsiteY17" fmla="*/ 531812 h 1096963"/>
                  <a:gd name="connsiteX18" fmla="*/ 228352 w 1103313"/>
                  <a:gd name="connsiteY18" fmla="*/ 531812 h 1096963"/>
                  <a:gd name="connsiteX19" fmla="*/ 476250 w 1103313"/>
                  <a:gd name="connsiteY19" fmla="*/ 531812 h 1096963"/>
                  <a:gd name="connsiteX20" fmla="*/ 476250 w 1103313"/>
                  <a:gd name="connsiteY20" fmla="*/ 561975 h 1096963"/>
                  <a:gd name="connsiteX21" fmla="*/ 228352 w 1103313"/>
                  <a:gd name="connsiteY21" fmla="*/ 561975 h 1096963"/>
                  <a:gd name="connsiteX22" fmla="*/ 212725 w 1103313"/>
                  <a:gd name="connsiteY22" fmla="*/ 546894 h 1096963"/>
                  <a:gd name="connsiteX23" fmla="*/ 228352 w 1103313"/>
                  <a:gd name="connsiteY23" fmla="*/ 531812 h 1096963"/>
                  <a:gd name="connsiteX24" fmla="*/ 627062 w 1103313"/>
                  <a:gd name="connsiteY24" fmla="*/ 255587 h 1096963"/>
                  <a:gd name="connsiteX25" fmla="*/ 876412 w 1103313"/>
                  <a:gd name="connsiteY25" fmla="*/ 255587 h 1096963"/>
                  <a:gd name="connsiteX26" fmla="*/ 892175 w 1103313"/>
                  <a:gd name="connsiteY26" fmla="*/ 270669 h 1096963"/>
                  <a:gd name="connsiteX27" fmla="*/ 876412 w 1103313"/>
                  <a:gd name="connsiteY27" fmla="*/ 285750 h 1096963"/>
                  <a:gd name="connsiteX28" fmla="*/ 627062 w 1103313"/>
                  <a:gd name="connsiteY28" fmla="*/ 285750 h 1096963"/>
                  <a:gd name="connsiteX29" fmla="*/ 627062 w 1103313"/>
                  <a:gd name="connsiteY29" fmla="*/ 255587 h 1096963"/>
                  <a:gd name="connsiteX30" fmla="*/ 228361 w 1103313"/>
                  <a:gd name="connsiteY30" fmla="*/ 255587 h 1096963"/>
                  <a:gd name="connsiteX31" fmla="*/ 382588 w 1103313"/>
                  <a:gd name="connsiteY31" fmla="*/ 255587 h 1096963"/>
                  <a:gd name="connsiteX32" fmla="*/ 382588 w 1103313"/>
                  <a:gd name="connsiteY32" fmla="*/ 285750 h 1096963"/>
                  <a:gd name="connsiteX33" fmla="*/ 228361 w 1103313"/>
                  <a:gd name="connsiteY33" fmla="*/ 285750 h 1096963"/>
                  <a:gd name="connsiteX34" fmla="*/ 212725 w 1103313"/>
                  <a:gd name="connsiteY34" fmla="*/ 270669 h 1096963"/>
                  <a:gd name="connsiteX35" fmla="*/ 228361 w 1103313"/>
                  <a:gd name="connsiteY35" fmla="*/ 255587 h 1096963"/>
                  <a:gd name="connsiteX36" fmla="*/ 36512 w 1103313"/>
                  <a:gd name="connsiteY36" fmla="*/ 36512 h 1096963"/>
                  <a:gd name="connsiteX37" fmla="*/ 36512 w 1103313"/>
                  <a:gd name="connsiteY37" fmla="*/ 1058862 h 1096963"/>
                  <a:gd name="connsiteX38" fmla="*/ 1066800 w 1103313"/>
                  <a:gd name="connsiteY38" fmla="*/ 1058862 h 1096963"/>
                  <a:gd name="connsiteX39" fmla="*/ 1066800 w 1103313"/>
                  <a:gd name="connsiteY39" fmla="*/ 36512 h 1096963"/>
                  <a:gd name="connsiteX40" fmla="*/ 34234 w 1103313"/>
                  <a:gd name="connsiteY40" fmla="*/ 0 h 1096963"/>
                  <a:gd name="connsiteX41" fmla="*/ 1069080 w 1103313"/>
                  <a:gd name="connsiteY41" fmla="*/ 0 h 1096963"/>
                  <a:gd name="connsiteX42" fmla="*/ 1103313 w 1103313"/>
                  <a:gd name="connsiteY42" fmla="*/ 34258 h 1096963"/>
                  <a:gd name="connsiteX43" fmla="*/ 1103313 w 1103313"/>
                  <a:gd name="connsiteY43" fmla="*/ 1062705 h 1096963"/>
                  <a:gd name="connsiteX44" fmla="*/ 1069080 w 1103313"/>
                  <a:gd name="connsiteY44" fmla="*/ 1096963 h 1096963"/>
                  <a:gd name="connsiteX45" fmla="*/ 34234 w 1103313"/>
                  <a:gd name="connsiteY45" fmla="*/ 1096963 h 1096963"/>
                  <a:gd name="connsiteX46" fmla="*/ 0 w 1103313"/>
                  <a:gd name="connsiteY46" fmla="*/ 1062705 h 1096963"/>
                  <a:gd name="connsiteX47" fmla="*/ 0 w 1103313"/>
                  <a:gd name="connsiteY47" fmla="*/ 34258 h 1096963"/>
                  <a:gd name="connsiteX48" fmla="*/ 34234 w 1103313"/>
                  <a:gd name="connsiteY48" fmla="*/ 0 h 1096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103313" h="1096963">
                    <a:moveTo>
                      <a:pt x="627062" y="808037"/>
                    </a:moveTo>
                    <a:cubicBezTo>
                      <a:pt x="627062" y="808037"/>
                      <a:pt x="627062" y="808037"/>
                      <a:pt x="876412" y="808037"/>
                    </a:cubicBezTo>
                    <a:cubicBezTo>
                      <a:pt x="885010" y="808037"/>
                      <a:pt x="892175" y="814892"/>
                      <a:pt x="892175" y="823119"/>
                    </a:cubicBezTo>
                    <a:cubicBezTo>
                      <a:pt x="892175" y="832030"/>
                      <a:pt x="885010" y="838200"/>
                      <a:pt x="876412" y="838200"/>
                    </a:cubicBezTo>
                    <a:cubicBezTo>
                      <a:pt x="876412" y="838200"/>
                      <a:pt x="876412" y="838200"/>
                      <a:pt x="627062" y="838200"/>
                    </a:cubicBezTo>
                    <a:cubicBezTo>
                      <a:pt x="627062" y="838200"/>
                      <a:pt x="627062" y="838200"/>
                      <a:pt x="627062" y="808037"/>
                    </a:cubicBezTo>
                    <a:close/>
                    <a:moveTo>
                      <a:pt x="228361" y="808037"/>
                    </a:moveTo>
                    <a:cubicBezTo>
                      <a:pt x="228361" y="808037"/>
                      <a:pt x="228361" y="808037"/>
                      <a:pt x="382588" y="808037"/>
                    </a:cubicBezTo>
                    <a:cubicBezTo>
                      <a:pt x="382588" y="808037"/>
                      <a:pt x="382588" y="808037"/>
                      <a:pt x="382588" y="838200"/>
                    </a:cubicBezTo>
                    <a:cubicBezTo>
                      <a:pt x="382588" y="838200"/>
                      <a:pt x="382588" y="838200"/>
                      <a:pt x="228361" y="838200"/>
                    </a:cubicBezTo>
                    <a:cubicBezTo>
                      <a:pt x="219832" y="838200"/>
                      <a:pt x="212725" y="832030"/>
                      <a:pt x="212725" y="823119"/>
                    </a:cubicBezTo>
                    <a:cubicBezTo>
                      <a:pt x="212725" y="814892"/>
                      <a:pt x="219832" y="808037"/>
                      <a:pt x="228361" y="808037"/>
                    </a:cubicBezTo>
                    <a:close/>
                    <a:moveTo>
                      <a:pt x="722312" y="531812"/>
                    </a:moveTo>
                    <a:cubicBezTo>
                      <a:pt x="722312" y="531812"/>
                      <a:pt x="722312" y="531812"/>
                      <a:pt x="876474" y="531812"/>
                    </a:cubicBezTo>
                    <a:cubicBezTo>
                      <a:pt x="885038" y="531812"/>
                      <a:pt x="892175" y="538667"/>
                      <a:pt x="892175" y="546894"/>
                    </a:cubicBezTo>
                    <a:cubicBezTo>
                      <a:pt x="892175" y="555805"/>
                      <a:pt x="885038" y="561975"/>
                      <a:pt x="876474" y="561975"/>
                    </a:cubicBezTo>
                    <a:cubicBezTo>
                      <a:pt x="876474" y="561975"/>
                      <a:pt x="876474" y="561975"/>
                      <a:pt x="722312" y="561975"/>
                    </a:cubicBezTo>
                    <a:cubicBezTo>
                      <a:pt x="722312" y="561975"/>
                      <a:pt x="722312" y="561975"/>
                      <a:pt x="722312" y="531812"/>
                    </a:cubicBezTo>
                    <a:close/>
                    <a:moveTo>
                      <a:pt x="228352" y="531812"/>
                    </a:moveTo>
                    <a:cubicBezTo>
                      <a:pt x="228352" y="531812"/>
                      <a:pt x="228352" y="531812"/>
                      <a:pt x="476250" y="531812"/>
                    </a:cubicBezTo>
                    <a:cubicBezTo>
                      <a:pt x="476250" y="531812"/>
                      <a:pt x="476250" y="531812"/>
                      <a:pt x="476250" y="561975"/>
                    </a:cubicBezTo>
                    <a:cubicBezTo>
                      <a:pt x="476250" y="561975"/>
                      <a:pt x="476250" y="561975"/>
                      <a:pt x="228352" y="561975"/>
                    </a:cubicBezTo>
                    <a:cubicBezTo>
                      <a:pt x="219828" y="561975"/>
                      <a:pt x="212725" y="555805"/>
                      <a:pt x="212725" y="546894"/>
                    </a:cubicBezTo>
                    <a:cubicBezTo>
                      <a:pt x="212725" y="538667"/>
                      <a:pt x="219828" y="531812"/>
                      <a:pt x="228352" y="531812"/>
                    </a:cubicBezTo>
                    <a:close/>
                    <a:moveTo>
                      <a:pt x="627062" y="255587"/>
                    </a:moveTo>
                    <a:cubicBezTo>
                      <a:pt x="627062" y="255587"/>
                      <a:pt x="627062" y="255587"/>
                      <a:pt x="876412" y="255587"/>
                    </a:cubicBezTo>
                    <a:cubicBezTo>
                      <a:pt x="885010" y="255587"/>
                      <a:pt x="892175" y="262442"/>
                      <a:pt x="892175" y="270669"/>
                    </a:cubicBezTo>
                    <a:cubicBezTo>
                      <a:pt x="892175" y="279580"/>
                      <a:pt x="885010" y="285750"/>
                      <a:pt x="876412" y="285750"/>
                    </a:cubicBezTo>
                    <a:cubicBezTo>
                      <a:pt x="876412" y="285750"/>
                      <a:pt x="876412" y="285750"/>
                      <a:pt x="627062" y="285750"/>
                    </a:cubicBezTo>
                    <a:cubicBezTo>
                      <a:pt x="627062" y="285750"/>
                      <a:pt x="627062" y="285750"/>
                      <a:pt x="627062" y="255587"/>
                    </a:cubicBezTo>
                    <a:close/>
                    <a:moveTo>
                      <a:pt x="228361" y="255587"/>
                    </a:moveTo>
                    <a:cubicBezTo>
                      <a:pt x="228361" y="255587"/>
                      <a:pt x="228361" y="255587"/>
                      <a:pt x="382588" y="255587"/>
                    </a:cubicBezTo>
                    <a:cubicBezTo>
                      <a:pt x="382588" y="255587"/>
                      <a:pt x="382588" y="255587"/>
                      <a:pt x="382588" y="285750"/>
                    </a:cubicBezTo>
                    <a:cubicBezTo>
                      <a:pt x="382588" y="285750"/>
                      <a:pt x="382588" y="285750"/>
                      <a:pt x="228361" y="285750"/>
                    </a:cubicBezTo>
                    <a:cubicBezTo>
                      <a:pt x="219832" y="285750"/>
                      <a:pt x="212725" y="279580"/>
                      <a:pt x="212725" y="270669"/>
                    </a:cubicBezTo>
                    <a:cubicBezTo>
                      <a:pt x="212725" y="262442"/>
                      <a:pt x="219832" y="255587"/>
                      <a:pt x="228361" y="255587"/>
                    </a:cubicBezTo>
                    <a:close/>
                    <a:moveTo>
                      <a:pt x="36512" y="36512"/>
                    </a:moveTo>
                    <a:lnTo>
                      <a:pt x="36512" y="1058862"/>
                    </a:lnTo>
                    <a:lnTo>
                      <a:pt x="1066800" y="1058862"/>
                    </a:lnTo>
                    <a:lnTo>
                      <a:pt x="1066800" y="36512"/>
                    </a:lnTo>
                    <a:close/>
                    <a:moveTo>
                      <a:pt x="34234" y="0"/>
                    </a:moveTo>
                    <a:cubicBezTo>
                      <a:pt x="34234" y="0"/>
                      <a:pt x="34234" y="0"/>
                      <a:pt x="1069080" y="0"/>
                    </a:cubicBezTo>
                    <a:cubicBezTo>
                      <a:pt x="1087623" y="0"/>
                      <a:pt x="1103313" y="15702"/>
                      <a:pt x="1103313" y="34258"/>
                    </a:cubicBezTo>
                    <a:cubicBezTo>
                      <a:pt x="1103313" y="34258"/>
                      <a:pt x="1103313" y="34258"/>
                      <a:pt x="1103313" y="1062705"/>
                    </a:cubicBezTo>
                    <a:cubicBezTo>
                      <a:pt x="1103313" y="1081975"/>
                      <a:pt x="1087623" y="1096963"/>
                      <a:pt x="1069080" y="1096963"/>
                    </a:cubicBezTo>
                    <a:cubicBezTo>
                      <a:pt x="1069080" y="1096963"/>
                      <a:pt x="1069080" y="1096963"/>
                      <a:pt x="34234" y="1096963"/>
                    </a:cubicBezTo>
                    <a:cubicBezTo>
                      <a:pt x="15691" y="1096963"/>
                      <a:pt x="0" y="1081975"/>
                      <a:pt x="0" y="1062705"/>
                    </a:cubicBezTo>
                    <a:cubicBezTo>
                      <a:pt x="0" y="1062705"/>
                      <a:pt x="0" y="1062705"/>
                      <a:pt x="0" y="34258"/>
                    </a:cubicBezTo>
                    <a:cubicBezTo>
                      <a:pt x="0" y="15702"/>
                      <a:pt x="15691" y="0"/>
                      <a:pt x="3423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 name="Freeform 42">
                <a:extLst>
                  <a:ext uri="{FF2B5EF4-FFF2-40B4-BE49-F238E27FC236}">
                    <a16:creationId xmlns:a16="http://schemas.microsoft.com/office/drawing/2014/main" id="{0AE05A79-1E1E-4FA7-A94F-771D4A1A2646}"/>
                  </a:ext>
                </a:extLst>
              </p:cNvPr>
              <p:cNvSpPr>
                <a:spLocks/>
              </p:cNvSpPr>
              <p:nvPr/>
            </p:nvSpPr>
            <p:spPr bwMode="auto">
              <a:xfrm>
                <a:off x="5956299" y="3060700"/>
                <a:ext cx="276226" cy="735013"/>
              </a:xfrm>
              <a:custGeom>
                <a:avLst/>
                <a:gdLst>
                  <a:gd name="connsiteX0" fmla="*/ 15751 w 276226"/>
                  <a:gd name="connsiteY0" fmla="*/ 552450 h 735013"/>
                  <a:gd name="connsiteX1" fmla="*/ 166813 w 276226"/>
                  <a:gd name="connsiteY1" fmla="*/ 552450 h 735013"/>
                  <a:gd name="connsiteX2" fmla="*/ 182563 w 276226"/>
                  <a:gd name="connsiteY2" fmla="*/ 568201 h 735013"/>
                  <a:gd name="connsiteX3" fmla="*/ 182563 w 276226"/>
                  <a:gd name="connsiteY3" fmla="*/ 627623 h 735013"/>
                  <a:gd name="connsiteX4" fmla="*/ 182563 w 276226"/>
                  <a:gd name="connsiteY4" fmla="*/ 659124 h 735013"/>
                  <a:gd name="connsiteX5" fmla="*/ 182563 w 276226"/>
                  <a:gd name="connsiteY5" fmla="*/ 719263 h 735013"/>
                  <a:gd name="connsiteX6" fmla="*/ 166813 w 276226"/>
                  <a:gd name="connsiteY6" fmla="*/ 735013 h 735013"/>
                  <a:gd name="connsiteX7" fmla="*/ 15751 w 276226"/>
                  <a:gd name="connsiteY7" fmla="*/ 735013 h 735013"/>
                  <a:gd name="connsiteX8" fmla="*/ 0 w 276226"/>
                  <a:gd name="connsiteY8" fmla="*/ 719263 h 735013"/>
                  <a:gd name="connsiteX9" fmla="*/ 0 w 276226"/>
                  <a:gd name="connsiteY9" fmla="*/ 659124 h 735013"/>
                  <a:gd name="connsiteX10" fmla="*/ 0 w 276226"/>
                  <a:gd name="connsiteY10" fmla="*/ 627623 h 735013"/>
                  <a:gd name="connsiteX11" fmla="*/ 0 w 276226"/>
                  <a:gd name="connsiteY11" fmla="*/ 568201 h 735013"/>
                  <a:gd name="connsiteX12" fmla="*/ 15751 w 276226"/>
                  <a:gd name="connsiteY12" fmla="*/ 552450 h 735013"/>
                  <a:gd name="connsiteX13" fmla="*/ 109414 w 276226"/>
                  <a:gd name="connsiteY13" fmla="*/ 276225 h 735013"/>
                  <a:gd name="connsiteX14" fmla="*/ 260476 w 276226"/>
                  <a:gd name="connsiteY14" fmla="*/ 276225 h 735013"/>
                  <a:gd name="connsiteX15" fmla="*/ 276226 w 276226"/>
                  <a:gd name="connsiteY15" fmla="*/ 291976 h 735013"/>
                  <a:gd name="connsiteX16" fmla="*/ 276226 w 276226"/>
                  <a:gd name="connsiteY16" fmla="*/ 351398 h 735013"/>
                  <a:gd name="connsiteX17" fmla="*/ 276226 w 276226"/>
                  <a:gd name="connsiteY17" fmla="*/ 382899 h 735013"/>
                  <a:gd name="connsiteX18" fmla="*/ 276226 w 276226"/>
                  <a:gd name="connsiteY18" fmla="*/ 443038 h 735013"/>
                  <a:gd name="connsiteX19" fmla="*/ 260476 w 276226"/>
                  <a:gd name="connsiteY19" fmla="*/ 458788 h 735013"/>
                  <a:gd name="connsiteX20" fmla="*/ 109414 w 276226"/>
                  <a:gd name="connsiteY20" fmla="*/ 458788 h 735013"/>
                  <a:gd name="connsiteX21" fmla="*/ 93663 w 276226"/>
                  <a:gd name="connsiteY21" fmla="*/ 443038 h 735013"/>
                  <a:gd name="connsiteX22" fmla="*/ 93663 w 276226"/>
                  <a:gd name="connsiteY22" fmla="*/ 382899 h 735013"/>
                  <a:gd name="connsiteX23" fmla="*/ 93663 w 276226"/>
                  <a:gd name="connsiteY23" fmla="*/ 351398 h 735013"/>
                  <a:gd name="connsiteX24" fmla="*/ 93663 w 276226"/>
                  <a:gd name="connsiteY24" fmla="*/ 291976 h 735013"/>
                  <a:gd name="connsiteX25" fmla="*/ 109414 w 276226"/>
                  <a:gd name="connsiteY25" fmla="*/ 276225 h 735013"/>
                  <a:gd name="connsiteX26" fmla="*/ 15751 w 276226"/>
                  <a:gd name="connsiteY26" fmla="*/ 0 h 735013"/>
                  <a:gd name="connsiteX27" fmla="*/ 166813 w 276226"/>
                  <a:gd name="connsiteY27" fmla="*/ 0 h 735013"/>
                  <a:gd name="connsiteX28" fmla="*/ 182563 w 276226"/>
                  <a:gd name="connsiteY28" fmla="*/ 15751 h 735013"/>
                  <a:gd name="connsiteX29" fmla="*/ 182563 w 276226"/>
                  <a:gd name="connsiteY29" fmla="*/ 75173 h 735013"/>
                  <a:gd name="connsiteX30" fmla="*/ 182563 w 276226"/>
                  <a:gd name="connsiteY30" fmla="*/ 106674 h 735013"/>
                  <a:gd name="connsiteX31" fmla="*/ 182563 w 276226"/>
                  <a:gd name="connsiteY31" fmla="*/ 166813 h 735013"/>
                  <a:gd name="connsiteX32" fmla="*/ 166813 w 276226"/>
                  <a:gd name="connsiteY32" fmla="*/ 182563 h 735013"/>
                  <a:gd name="connsiteX33" fmla="*/ 15751 w 276226"/>
                  <a:gd name="connsiteY33" fmla="*/ 182563 h 735013"/>
                  <a:gd name="connsiteX34" fmla="*/ 0 w 276226"/>
                  <a:gd name="connsiteY34" fmla="*/ 166813 h 735013"/>
                  <a:gd name="connsiteX35" fmla="*/ 0 w 276226"/>
                  <a:gd name="connsiteY35" fmla="*/ 106674 h 735013"/>
                  <a:gd name="connsiteX36" fmla="*/ 0 w 276226"/>
                  <a:gd name="connsiteY36" fmla="*/ 75173 h 735013"/>
                  <a:gd name="connsiteX37" fmla="*/ 0 w 276226"/>
                  <a:gd name="connsiteY37" fmla="*/ 15751 h 735013"/>
                  <a:gd name="connsiteX38" fmla="*/ 15751 w 276226"/>
                  <a:gd name="connsiteY38" fmla="*/ 0 h 73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76226" h="735013">
                    <a:moveTo>
                      <a:pt x="15751" y="552450"/>
                    </a:moveTo>
                    <a:cubicBezTo>
                      <a:pt x="15751" y="552450"/>
                      <a:pt x="15751" y="552450"/>
                      <a:pt x="166813" y="552450"/>
                    </a:cubicBezTo>
                    <a:cubicBezTo>
                      <a:pt x="175404" y="552450"/>
                      <a:pt x="182563" y="559609"/>
                      <a:pt x="182563" y="568201"/>
                    </a:cubicBezTo>
                    <a:cubicBezTo>
                      <a:pt x="182563" y="568201"/>
                      <a:pt x="182563" y="568201"/>
                      <a:pt x="182563" y="627623"/>
                    </a:cubicBezTo>
                    <a:cubicBezTo>
                      <a:pt x="182563" y="627623"/>
                      <a:pt x="182563" y="627623"/>
                      <a:pt x="182563" y="659124"/>
                    </a:cubicBezTo>
                    <a:cubicBezTo>
                      <a:pt x="182563" y="659124"/>
                      <a:pt x="182563" y="659124"/>
                      <a:pt x="182563" y="719263"/>
                    </a:cubicBezTo>
                    <a:cubicBezTo>
                      <a:pt x="182563" y="727854"/>
                      <a:pt x="175404" y="735013"/>
                      <a:pt x="166813" y="735013"/>
                    </a:cubicBezTo>
                    <a:cubicBezTo>
                      <a:pt x="166813" y="735013"/>
                      <a:pt x="166813" y="735013"/>
                      <a:pt x="15751" y="735013"/>
                    </a:cubicBezTo>
                    <a:cubicBezTo>
                      <a:pt x="6444" y="735013"/>
                      <a:pt x="0" y="727854"/>
                      <a:pt x="0" y="719263"/>
                    </a:cubicBezTo>
                    <a:cubicBezTo>
                      <a:pt x="0" y="719263"/>
                      <a:pt x="0" y="719263"/>
                      <a:pt x="0" y="659124"/>
                    </a:cubicBezTo>
                    <a:cubicBezTo>
                      <a:pt x="0" y="659124"/>
                      <a:pt x="0" y="659124"/>
                      <a:pt x="0" y="627623"/>
                    </a:cubicBezTo>
                    <a:cubicBezTo>
                      <a:pt x="0" y="627623"/>
                      <a:pt x="0" y="627623"/>
                      <a:pt x="0" y="568201"/>
                    </a:cubicBezTo>
                    <a:cubicBezTo>
                      <a:pt x="0" y="559609"/>
                      <a:pt x="6444" y="552450"/>
                      <a:pt x="15751" y="552450"/>
                    </a:cubicBezTo>
                    <a:close/>
                    <a:moveTo>
                      <a:pt x="109414" y="276225"/>
                    </a:moveTo>
                    <a:cubicBezTo>
                      <a:pt x="109414" y="276225"/>
                      <a:pt x="109414" y="276225"/>
                      <a:pt x="260476" y="276225"/>
                    </a:cubicBezTo>
                    <a:cubicBezTo>
                      <a:pt x="269067" y="276225"/>
                      <a:pt x="276226" y="283384"/>
                      <a:pt x="276226" y="291976"/>
                    </a:cubicBezTo>
                    <a:cubicBezTo>
                      <a:pt x="276226" y="291976"/>
                      <a:pt x="276226" y="291976"/>
                      <a:pt x="276226" y="351398"/>
                    </a:cubicBezTo>
                    <a:cubicBezTo>
                      <a:pt x="276226" y="351398"/>
                      <a:pt x="276226" y="351398"/>
                      <a:pt x="276226" y="382899"/>
                    </a:cubicBezTo>
                    <a:cubicBezTo>
                      <a:pt x="276226" y="382899"/>
                      <a:pt x="276226" y="382899"/>
                      <a:pt x="276226" y="443038"/>
                    </a:cubicBezTo>
                    <a:cubicBezTo>
                      <a:pt x="276226" y="451629"/>
                      <a:pt x="269067" y="458788"/>
                      <a:pt x="260476" y="458788"/>
                    </a:cubicBezTo>
                    <a:cubicBezTo>
                      <a:pt x="260476" y="458788"/>
                      <a:pt x="260476" y="458788"/>
                      <a:pt x="109414" y="458788"/>
                    </a:cubicBezTo>
                    <a:cubicBezTo>
                      <a:pt x="100107" y="458788"/>
                      <a:pt x="93663" y="451629"/>
                      <a:pt x="93663" y="443038"/>
                    </a:cubicBezTo>
                    <a:cubicBezTo>
                      <a:pt x="93663" y="443038"/>
                      <a:pt x="93663" y="443038"/>
                      <a:pt x="93663" y="382899"/>
                    </a:cubicBezTo>
                    <a:cubicBezTo>
                      <a:pt x="93663" y="382899"/>
                      <a:pt x="93663" y="382899"/>
                      <a:pt x="93663" y="351398"/>
                    </a:cubicBezTo>
                    <a:cubicBezTo>
                      <a:pt x="93663" y="351398"/>
                      <a:pt x="93663" y="351398"/>
                      <a:pt x="93663" y="291976"/>
                    </a:cubicBezTo>
                    <a:cubicBezTo>
                      <a:pt x="93663" y="283384"/>
                      <a:pt x="100107" y="276225"/>
                      <a:pt x="109414" y="276225"/>
                    </a:cubicBezTo>
                    <a:close/>
                    <a:moveTo>
                      <a:pt x="15751" y="0"/>
                    </a:moveTo>
                    <a:cubicBezTo>
                      <a:pt x="15751" y="0"/>
                      <a:pt x="15751" y="0"/>
                      <a:pt x="166813" y="0"/>
                    </a:cubicBezTo>
                    <a:cubicBezTo>
                      <a:pt x="175404" y="0"/>
                      <a:pt x="182563" y="7159"/>
                      <a:pt x="182563" y="15751"/>
                    </a:cubicBezTo>
                    <a:cubicBezTo>
                      <a:pt x="182563" y="15751"/>
                      <a:pt x="182563" y="15751"/>
                      <a:pt x="182563" y="75173"/>
                    </a:cubicBezTo>
                    <a:cubicBezTo>
                      <a:pt x="182563" y="75173"/>
                      <a:pt x="182563" y="75173"/>
                      <a:pt x="182563" y="106674"/>
                    </a:cubicBezTo>
                    <a:cubicBezTo>
                      <a:pt x="182563" y="106674"/>
                      <a:pt x="182563" y="106674"/>
                      <a:pt x="182563" y="166813"/>
                    </a:cubicBezTo>
                    <a:cubicBezTo>
                      <a:pt x="182563" y="175404"/>
                      <a:pt x="175404" y="182563"/>
                      <a:pt x="166813" y="182563"/>
                    </a:cubicBezTo>
                    <a:cubicBezTo>
                      <a:pt x="166813" y="182563"/>
                      <a:pt x="166813" y="182563"/>
                      <a:pt x="15751" y="182563"/>
                    </a:cubicBezTo>
                    <a:cubicBezTo>
                      <a:pt x="6444" y="182563"/>
                      <a:pt x="0" y="175404"/>
                      <a:pt x="0" y="166813"/>
                    </a:cubicBezTo>
                    <a:cubicBezTo>
                      <a:pt x="0" y="166813"/>
                      <a:pt x="0" y="166813"/>
                      <a:pt x="0" y="106674"/>
                    </a:cubicBezTo>
                    <a:cubicBezTo>
                      <a:pt x="0" y="106674"/>
                      <a:pt x="0" y="106674"/>
                      <a:pt x="0" y="75173"/>
                    </a:cubicBezTo>
                    <a:cubicBezTo>
                      <a:pt x="0" y="75173"/>
                      <a:pt x="0" y="75173"/>
                      <a:pt x="0" y="15751"/>
                    </a:cubicBezTo>
                    <a:cubicBezTo>
                      <a:pt x="0" y="7159"/>
                      <a:pt x="6444" y="0"/>
                      <a:pt x="15751"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9" name="Textfeld 1">
            <a:extLst>
              <a:ext uri="{FF2B5EF4-FFF2-40B4-BE49-F238E27FC236}">
                <a16:creationId xmlns:a16="http://schemas.microsoft.com/office/drawing/2014/main" id="{6BD06D91-8B0C-411F-B05D-507DAF98210C}"/>
              </a:ext>
            </a:extLst>
          </p:cNvPr>
          <p:cNvSpPr txBox="1"/>
          <p:nvPr>
            <p:custDataLst>
              <p:tags r:id="rId1"/>
            </p:custDataLst>
          </p:nvPr>
        </p:nvSpPr>
        <p:spPr>
          <a:xfrm>
            <a:off x="4840324" y="0"/>
            <a:ext cx="6589676" cy="892552"/>
          </a:xfrm>
          <a:prstGeom prst="rect">
            <a:avLst/>
          </a:prstGeom>
          <a:pattFill>
            <a:fgClr>
              <a:srgbClr val="40FEFE"/>
            </a:fgClr>
            <a:bgClr>
              <a:srgbClr val="40FEFE"/>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RP 15.Sep.20:</a:t>
            </a:r>
          </a:p>
          <a:p>
            <a:pPr>
              <a:lnSpc>
                <a:spcPct val="90000"/>
              </a:lnSpc>
              <a:spcAft>
                <a:spcPts val="600"/>
              </a:spcAft>
            </a:pPr>
            <a:r>
              <a:rPr lang="en-US" sz="1200" b="1" dirty="0">
                <a:solidFill>
                  <a:srgbClr val="575757"/>
                </a:solidFill>
                <a:sym typeface="Trebuchet MS" panose="020B0603020202020204" pitchFamily="34" charset="0"/>
              </a:rPr>
              <a:t>Canvas- tailored look and feel, and navigation
I know we don't want to open this up for a full redesign but I think we need to be clear that there is a lot of flexibility how to arrange the page, what links to have on canvas etc.</a:t>
            </a:r>
          </a:p>
        </p:txBody>
      </p:sp>
      <p:sp>
        <p:nvSpPr>
          <p:cNvPr id="12" name="Textfeld 1">
            <a:extLst>
              <a:ext uri="{FF2B5EF4-FFF2-40B4-BE49-F238E27FC236}">
                <a16:creationId xmlns:a16="http://schemas.microsoft.com/office/drawing/2014/main" id="{C21731A8-0BFE-4F28-9500-F36F74974CA2}"/>
              </a:ext>
            </a:extLst>
          </p:cNvPr>
          <p:cNvSpPr txBox="1"/>
          <p:nvPr>
            <p:custDataLst>
              <p:tags r:id="rId2"/>
            </p:custDataLst>
          </p:nvPr>
        </p:nvSpPr>
        <p:spPr>
          <a:xfrm>
            <a:off x="4972324" y="525057"/>
            <a:ext cx="6589676" cy="1455783"/>
          </a:xfrm>
          <a:prstGeom prst="rect">
            <a:avLst/>
          </a:prstGeom>
          <a:pattFill>
            <a:fgClr>
              <a:srgbClr val="40FEFE"/>
            </a:fgClr>
            <a:bgClr>
              <a:srgbClr val="40FEFE"/>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RP 15.Sep.20:</a:t>
            </a:r>
          </a:p>
          <a:p>
            <a:pPr>
              <a:lnSpc>
                <a:spcPct val="90000"/>
              </a:lnSpc>
              <a:spcAft>
                <a:spcPts val="600"/>
              </a:spcAft>
            </a:pPr>
            <a:r>
              <a:rPr lang="en-US" sz="1200" b="1" dirty="0">
                <a:solidFill>
                  <a:srgbClr val="575757"/>
                </a:solidFill>
                <a:sym typeface="Trebuchet MS" panose="020B0603020202020204" pitchFamily="34" charset="0"/>
              </a:rPr>
              <a:t>Announcements portlet</a:t>
            </a:r>
          </a:p>
          <a:p>
            <a:pPr>
              <a:lnSpc>
                <a:spcPct val="90000"/>
              </a:lnSpc>
              <a:spcAft>
                <a:spcPts val="600"/>
              </a:spcAft>
            </a:pPr>
            <a:r>
              <a:rPr lang="en-US" sz="1200" b="1" dirty="0">
                <a:solidFill>
                  <a:srgbClr val="575757"/>
                </a:solidFill>
                <a:sym typeface="Trebuchet MS" panose="020B0603020202020204" pitchFamily="34" charset="0"/>
              </a:rPr>
              <a:t>My Learning</a:t>
            </a:r>
          </a:p>
          <a:p>
            <a:pPr>
              <a:lnSpc>
                <a:spcPct val="90000"/>
              </a:lnSpc>
              <a:spcAft>
                <a:spcPts val="600"/>
              </a:spcAft>
            </a:pPr>
            <a:r>
              <a:rPr lang="en-US" sz="1200" b="1" dirty="0">
                <a:solidFill>
                  <a:srgbClr val="575757"/>
                </a:solidFill>
                <a:sym typeface="Trebuchet MS" panose="020B0603020202020204" pitchFamily="34" charset="0"/>
              </a:rPr>
              <a:t>Discover</a:t>
            </a:r>
          </a:p>
          <a:p>
            <a:pPr>
              <a:lnSpc>
                <a:spcPct val="90000"/>
              </a:lnSpc>
              <a:spcAft>
                <a:spcPts val="600"/>
              </a:spcAft>
            </a:pPr>
            <a:endParaRPr lang="en-US" sz="1200" b="1" dirty="0">
              <a:solidFill>
                <a:srgbClr val="575757"/>
              </a:solidFill>
              <a:sym typeface="Trebuchet MS" panose="020B0603020202020204" pitchFamily="34" charset="0"/>
            </a:endParaRPr>
          </a:p>
          <a:p>
            <a:pPr>
              <a:lnSpc>
                <a:spcPct val="90000"/>
              </a:lnSpc>
              <a:spcAft>
                <a:spcPts val="600"/>
              </a:spcAft>
            </a:pPr>
            <a:r>
              <a:rPr lang="en-US" sz="1200" b="1" dirty="0">
                <a:solidFill>
                  <a:srgbClr val="575757"/>
                </a:solidFill>
                <a:sym typeface="Trebuchet MS" panose="020B0603020202020204" pitchFamily="34" charset="0"/>
              </a:rPr>
              <a:t>Portlets </a:t>
            </a:r>
          </a:p>
        </p:txBody>
      </p:sp>
      <p:sp>
        <p:nvSpPr>
          <p:cNvPr id="13" name="Textfeld 1">
            <a:extLst>
              <a:ext uri="{FF2B5EF4-FFF2-40B4-BE49-F238E27FC236}">
                <a16:creationId xmlns:a16="http://schemas.microsoft.com/office/drawing/2014/main" id="{1B612FD6-6466-4BEC-B13A-0490E1DCB402}"/>
              </a:ext>
            </a:extLst>
          </p:cNvPr>
          <p:cNvSpPr txBox="1"/>
          <p:nvPr>
            <p:custDataLst>
              <p:tags r:id="rId3"/>
            </p:custDataLst>
          </p:nvPr>
        </p:nvSpPr>
        <p:spPr>
          <a:xfrm>
            <a:off x="4664477" y="1174505"/>
            <a:ext cx="6589676" cy="649409"/>
          </a:xfrm>
          <a:prstGeom prst="rect">
            <a:avLst/>
          </a:prstGeom>
          <a:pattFill>
            <a:fgClr>
              <a:srgbClr val="40FEFE"/>
            </a:fgClr>
            <a:bgClr>
              <a:srgbClr val="40FEFE"/>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RP 15.Sep.20:
Maybe adding something about the capability to offer curated journeys per person's role, career step etc. (referring to learning journey workspaces – which may later on be in </a:t>
            </a:r>
            <a:r>
              <a:rPr lang="en-US" sz="1200" b="1" dirty="0" err="1">
                <a:solidFill>
                  <a:srgbClr val="575757"/>
                </a:solidFill>
                <a:sym typeface="Trebuchet MS" panose="020B0603020202020204" pitchFamily="34" charset="0"/>
              </a:rPr>
              <a:t>LXP</a:t>
            </a:r>
            <a:r>
              <a:rPr lang="en-US" sz="1200" b="1" dirty="0">
                <a:solidFill>
                  <a:srgbClr val="575757"/>
                </a:solidFill>
                <a:sym typeface="Trebuchet MS" panose="020B0603020202020204" pitchFamily="34" charset="0"/>
              </a:rPr>
              <a:t>)</a:t>
            </a:r>
          </a:p>
        </p:txBody>
      </p:sp>
      <p:sp>
        <p:nvSpPr>
          <p:cNvPr id="14" name="Textfeld 1">
            <a:extLst>
              <a:ext uri="{FF2B5EF4-FFF2-40B4-BE49-F238E27FC236}">
                <a16:creationId xmlns:a16="http://schemas.microsoft.com/office/drawing/2014/main" id="{ABD2F8AA-80AD-4632-B3E6-254871136B2C}"/>
              </a:ext>
            </a:extLst>
          </p:cNvPr>
          <p:cNvSpPr txBox="1"/>
          <p:nvPr>
            <p:custDataLst>
              <p:tags r:id="rId4"/>
            </p:custDataLst>
          </p:nvPr>
        </p:nvSpPr>
        <p:spPr>
          <a:xfrm>
            <a:off x="4816672" y="1484079"/>
            <a:ext cx="6569481" cy="2043636"/>
          </a:xfrm>
          <a:prstGeom prst="rect">
            <a:avLst/>
          </a:prstGeom>
          <a:pattFill>
            <a:fgClr>
              <a:srgbClr val="7FFA00"/>
            </a:fgClr>
            <a:bgClr>
              <a:srgbClr val="7FFA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Shobhit 16.Sep.20:
Like the idea of adding curation + journeys here</a:t>
            </a:r>
          </a:p>
          <a:p>
            <a:pPr>
              <a:lnSpc>
                <a:spcPct val="90000"/>
              </a:lnSpc>
              <a:spcAft>
                <a:spcPts val="600"/>
              </a:spcAft>
            </a:pPr>
            <a:r>
              <a:rPr lang="en-US" sz="1200" b="1" dirty="0">
                <a:solidFill>
                  <a:srgbClr val="575757"/>
                </a:solidFill>
                <a:sym typeface="Trebuchet MS" panose="020B0603020202020204" pitchFamily="34" charset="0"/>
              </a:rPr>
              <a:t>Might there be a way of segmenting what's 'core' functionality (e.g. search, browse, mobile, blended format) and 'personalization' functionality (e.g. look and feel, subscriptions). </a:t>
            </a:r>
          </a:p>
          <a:p>
            <a:pPr>
              <a:lnSpc>
                <a:spcPct val="90000"/>
              </a:lnSpc>
              <a:spcAft>
                <a:spcPts val="600"/>
              </a:spcAft>
            </a:pPr>
            <a:r>
              <a:rPr lang="en-US" sz="1200" b="1" dirty="0">
                <a:solidFill>
                  <a:srgbClr val="575757"/>
                </a:solidFill>
                <a:sym typeface="Trebuchet MS" panose="020B0603020202020204" pitchFamily="34" charset="0"/>
              </a:rPr>
              <a:t>This might allow us to define scope of this document, and focus on the personalization features</a:t>
            </a:r>
          </a:p>
          <a:p>
            <a:pPr>
              <a:lnSpc>
                <a:spcPct val="90000"/>
              </a:lnSpc>
              <a:spcAft>
                <a:spcPts val="600"/>
              </a:spcAft>
            </a:pPr>
            <a:r>
              <a:rPr lang="en-US" sz="1200" b="1" dirty="0">
                <a:solidFill>
                  <a:srgbClr val="575757"/>
                </a:solidFill>
                <a:sym typeface="Trebuchet MS" panose="020B0603020202020204" pitchFamily="34" charset="0"/>
              </a:rPr>
              <a:t>This might also allow us to further segment the personalization features into (a) learner-led / self-directed  (e.g. subscriptions, collections) and (b) </a:t>
            </a:r>
            <a:r>
              <a:rPr lang="en-US" sz="1200" b="1" dirty="0" err="1">
                <a:solidFill>
                  <a:srgbClr val="575757"/>
                </a:solidFill>
                <a:sym typeface="Trebuchet MS" panose="020B0603020202020204" pitchFamily="34" charset="0"/>
              </a:rPr>
              <a:t>L&amp;D</a:t>
            </a:r>
            <a:r>
              <a:rPr lang="en-US" sz="1200" b="1" dirty="0">
                <a:solidFill>
                  <a:srgbClr val="575757"/>
                </a:solidFill>
                <a:sym typeface="Trebuchet MS" panose="020B0603020202020204" pitchFamily="34" charset="0"/>
              </a:rPr>
              <a:t>/business-led (e.g. canvas, portlets, workspaces, pages)</a:t>
            </a:r>
          </a:p>
        </p:txBody>
      </p:sp>
      <p:sp>
        <p:nvSpPr>
          <p:cNvPr id="15" name="Textfeld 1">
            <a:extLst>
              <a:ext uri="{FF2B5EF4-FFF2-40B4-BE49-F238E27FC236}">
                <a16:creationId xmlns:a16="http://schemas.microsoft.com/office/drawing/2014/main" id="{53C7DD45-C5ED-408C-BAA3-18D2A1EDE605}"/>
              </a:ext>
            </a:extLst>
          </p:cNvPr>
          <p:cNvSpPr txBox="1"/>
          <p:nvPr>
            <p:custDataLst>
              <p:tags r:id="rId5"/>
            </p:custDataLst>
          </p:nvPr>
        </p:nvSpPr>
        <p:spPr>
          <a:xfrm>
            <a:off x="4992518" y="3647552"/>
            <a:ext cx="6589675" cy="1711238"/>
          </a:xfrm>
          <a:prstGeom prst="rect">
            <a:avLst/>
          </a:prstGeom>
          <a:pattFill>
            <a:fgClr>
              <a:srgbClr val="40FEFE"/>
            </a:fgClr>
            <a:bgClr>
              <a:srgbClr val="40FEFE"/>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RP 15.Sep.20:
Workspaces: I might misunderstand the collaboration part on workspaces but so far we have not allowed users (learners) to modify or contribute to the workspaces, only to group pages..</a:t>
            </a:r>
          </a:p>
          <a:p>
            <a:pPr>
              <a:lnSpc>
                <a:spcPct val="90000"/>
              </a:lnSpc>
              <a:spcAft>
                <a:spcPts val="600"/>
              </a:spcAft>
            </a:pPr>
            <a:r>
              <a:rPr lang="en-US" sz="1200" b="1" dirty="0">
                <a:solidFill>
                  <a:srgbClr val="575757"/>
                </a:solidFill>
                <a:sym typeface="Trebuchet MS" panose="020B0603020202020204" pitchFamily="34" charset="0"/>
              </a:rPr>
              <a:t>Current key use case for workspaces is to provide curated learning journey.</a:t>
            </a:r>
          </a:p>
          <a:p>
            <a:pPr>
              <a:lnSpc>
                <a:spcPct val="90000"/>
              </a:lnSpc>
              <a:spcAft>
                <a:spcPts val="600"/>
              </a:spcAft>
            </a:pPr>
            <a:endParaRPr lang="en-US" sz="1200" b="1" dirty="0">
              <a:solidFill>
                <a:srgbClr val="575757"/>
              </a:solidFill>
              <a:sym typeface="Trebuchet MS" panose="020B0603020202020204" pitchFamily="34" charset="0"/>
            </a:endParaRPr>
          </a:p>
          <a:p>
            <a:pPr>
              <a:lnSpc>
                <a:spcPct val="90000"/>
              </a:lnSpc>
              <a:spcAft>
                <a:spcPts val="600"/>
              </a:spcAft>
            </a:pPr>
            <a:r>
              <a:rPr lang="en-US" sz="1200" b="1" dirty="0">
                <a:solidFill>
                  <a:srgbClr val="575757"/>
                </a:solidFill>
                <a:sym typeface="Trebuchet MS" panose="020B0603020202020204" pitchFamily="34" charset="0"/>
              </a:rPr>
              <a:t>We hope to convert all workspaces to pages once pages –feature is developed enough. For more info on pages feature, check the wave 2 core team meeting minutes from July 14</a:t>
            </a:r>
            <a:r>
              <a:rPr lang="en-US" sz="1200" b="1" baseline="30000" dirty="0">
                <a:solidFill>
                  <a:srgbClr val="575757"/>
                </a:solidFill>
                <a:sym typeface="Trebuchet MS" panose="020B0603020202020204" pitchFamily="34" charset="0"/>
              </a:rPr>
              <a:t>th</a:t>
            </a:r>
            <a:r>
              <a:rPr lang="en-US" sz="1200" b="1" dirty="0">
                <a:solidFill>
                  <a:srgbClr val="575757"/>
                </a:solidFill>
                <a:sym typeface="Trebuchet MS" panose="020B0603020202020204" pitchFamily="34" charset="0"/>
              </a:rPr>
              <a:t>.</a:t>
            </a:r>
          </a:p>
        </p:txBody>
      </p:sp>
      <p:sp>
        <p:nvSpPr>
          <p:cNvPr id="16" name="Textfeld 1">
            <a:extLst>
              <a:ext uri="{FF2B5EF4-FFF2-40B4-BE49-F238E27FC236}">
                <a16:creationId xmlns:a16="http://schemas.microsoft.com/office/drawing/2014/main" id="{0E2115BA-9279-4E76-9EDC-750959497098}"/>
              </a:ext>
            </a:extLst>
          </p:cNvPr>
          <p:cNvSpPr txBox="1"/>
          <p:nvPr>
            <p:custDataLst>
              <p:tags r:id="rId6"/>
            </p:custDataLst>
          </p:nvPr>
        </p:nvSpPr>
        <p:spPr>
          <a:xfrm>
            <a:off x="4840323" y="5518779"/>
            <a:ext cx="6741869" cy="1711238"/>
          </a:xfrm>
          <a:prstGeom prst="rect">
            <a:avLst/>
          </a:prstGeom>
          <a:pattFill>
            <a:fgClr>
              <a:srgbClr val="40FEFE"/>
            </a:fgClr>
            <a:bgClr>
              <a:srgbClr val="40FEFE"/>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RP 15.Sep.20:
Groups:</a:t>
            </a:r>
          </a:p>
          <a:p>
            <a:pPr>
              <a:lnSpc>
                <a:spcPct val="90000"/>
              </a:lnSpc>
              <a:spcAft>
                <a:spcPts val="600"/>
              </a:spcAft>
            </a:pPr>
            <a:r>
              <a:rPr lang="en-US" sz="1200" b="1" dirty="0">
                <a:solidFill>
                  <a:srgbClr val="575757"/>
                </a:solidFill>
                <a:sym typeface="Trebuchet MS" panose="020B0603020202020204" pitchFamily="34" charset="0"/>
              </a:rPr>
              <a:t>I would mention that person belongs to a certain default group based on their profile in core HR. In addition to this, they can be added to other groups per their position/role and learnings they attend.</a:t>
            </a:r>
          </a:p>
          <a:p>
            <a:pPr>
              <a:lnSpc>
                <a:spcPct val="90000"/>
              </a:lnSpc>
              <a:spcAft>
                <a:spcPts val="600"/>
              </a:spcAft>
            </a:pPr>
            <a:endParaRPr lang="en-US" sz="1200" b="1" dirty="0">
              <a:solidFill>
                <a:srgbClr val="575757"/>
              </a:solidFill>
              <a:sym typeface="Trebuchet MS" panose="020B0603020202020204" pitchFamily="34" charset="0"/>
            </a:endParaRPr>
          </a:p>
          <a:p>
            <a:pPr>
              <a:lnSpc>
                <a:spcPct val="90000"/>
              </a:lnSpc>
              <a:spcAft>
                <a:spcPts val="600"/>
              </a:spcAft>
            </a:pPr>
            <a:r>
              <a:rPr lang="en-US" sz="1200" b="1" dirty="0">
                <a:solidFill>
                  <a:srgbClr val="575757"/>
                </a:solidFill>
                <a:sym typeface="Trebuchet MS" panose="020B0603020202020204" pitchFamily="34" charset="0"/>
              </a:rPr>
              <a:t>Once the </a:t>
            </a:r>
            <a:r>
              <a:rPr lang="en-US" sz="1200" b="1" dirty="0" err="1">
                <a:solidFill>
                  <a:srgbClr val="575757"/>
                </a:solidFill>
                <a:sym typeface="Trebuchet MS" panose="020B0603020202020204" pitchFamily="34" charset="0"/>
              </a:rPr>
              <a:t>L&amp;D</a:t>
            </a:r>
            <a:r>
              <a:rPr lang="en-US" sz="1200" b="1" dirty="0">
                <a:solidFill>
                  <a:srgbClr val="575757"/>
                </a:solidFill>
                <a:sym typeface="Trebuchet MS" panose="020B0603020202020204" pitchFamily="34" charset="0"/>
              </a:rPr>
              <a:t> Group page is more built (Bryce is working on this), we should add a screenshot from that as an example.</a:t>
            </a:r>
          </a:p>
        </p:txBody>
      </p:sp>
      <p:sp>
        <p:nvSpPr>
          <p:cNvPr id="17" name="Textfeld 1">
            <a:extLst>
              <a:ext uri="{FF2B5EF4-FFF2-40B4-BE49-F238E27FC236}">
                <a16:creationId xmlns:a16="http://schemas.microsoft.com/office/drawing/2014/main" id="{728BDC49-8553-4B47-B357-A25D6CB9EC7C}"/>
              </a:ext>
            </a:extLst>
          </p:cNvPr>
          <p:cNvSpPr txBox="1"/>
          <p:nvPr>
            <p:custDataLst>
              <p:tags r:id="rId7"/>
            </p:custDataLst>
          </p:nvPr>
        </p:nvSpPr>
        <p:spPr>
          <a:xfrm>
            <a:off x="630000" y="1553729"/>
            <a:ext cx="2743200" cy="483209"/>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14.Sep.20:
Add examples as backup</a:t>
            </a:r>
          </a:p>
        </p:txBody>
      </p:sp>
      <p:sp>
        <p:nvSpPr>
          <p:cNvPr id="18" name="Textfeld 1">
            <a:extLst>
              <a:ext uri="{FF2B5EF4-FFF2-40B4-BE49-F238E27FC236}">
                <a16:creationId xmlns:a16="http://schemas.microsoft.com/office/drawing/2014/main" id="{CE1E8945-BD41-46C6-A453-F3E3B0C1254A}"/>
              </a:ext>
            </a:extLst>
          </p:cNvPr>
          <p:cNvSpPr txBox="1"/>
          <p:nvPr>
            <p:custDataLst>
              <p:tags r:id="rId8"/>
            </p:custDataLst>
          </p:nvPr>
        </p:nvSpPr>
        <p:spPr>
          <a:xfrm>
            <a:off x="2101851" y="3942262"/>
            <a:ext cx="2743200" cy="981807"/>
          </a:xfrm>
          <a:prstGeom prst="rect">
            <a:avLst/>
          </a:prstGeom>
          <a:pattFill>
            <a:fgClr>
              <a:srgbClr val="7FFA00"/>
            </a:fgClr>
            <a:bgClr>
              <a:srgbClr val="7FFA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Shobhit 16.Sep.20:
Re. default groups – I would position this as a consideration / requirement for some of the personalization features and not a feature in itself. </a:t>
            </a:r>
          </a:p>
        </p:txBody>
      </p:sp>
    </p:spTree>
    <p:extLst>
      <p:ext uri="{BB962C8B-B14F-4D97-AF65-F5344CB8AC3E}">
        <p14:creationId xmlns:p14="http://schemas.microsoft.com/office/powerpoint/2010/main" val="40280356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FB50F3-F29C-4A58-AA8F-8BF3D06EDD95}"/>
              </a:ext>
            </a:extLst>
          </p:cNvPr>
          <p:cNvGraphicFramePr>
            <a:graphicFrameLocks noChangeAspect="1"/>
          </p:cNvGraphicFramePr>
          <p:nvPr>
            <p:custDataLst>
              <p:tags r:id="rId2"/>
            </p:custDataLst>
            <p:extLst>
              <p:ext uri="{D42A27DB-BD31-4B8C-83A1-F6EECF244321}">
                <p14:modId xmlns:p14="http://schemas.microsoft.com/office/powerpoint/2010/main" val="1441116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9"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0A4D18B-7C16-44BF-9D75-A13EDABCDCDA}"/>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a:extLst>
              <a:ext uri="{FF2B5EF4-FFF2-40B4-BE49-F238E27FC236}">
                <a16:creationId xmlns:a16="http://schemas.microsoft.com/office/drawing/2014/main" id="{6727D1CC-954D-4E6A-87E3-1C55CE9E4BAD}"/>
              </a:ext>
            </a:extLst>
          </p:cNvPr>
          <p:cNvSpPr>
            <a:spLocks noGrp="1"/>
          </p:cNvSpPr>
          <p:nvPr>
            <p:ph type="title"/>
          </p:nvPr>
        </p:nvSpPr>
        <p:spPr/>
        <p:txBody>
          <a:bodyPr/>
          <a:lstStyle/>
          <a:p>
            <a:r>
              <a:rPr lang="en-US" dirty="0"/>
              <a:t>Customizations |  LAB Landing</a:t>
            </a:r>
          </a:p>
        </p:txBody>
      </p:sp>
      <p:pic>
        <p:nvPicPr>
          <p:cNvPr id="8" name="Picture 7" descr="Graphical user interface&#10;&#10;Description automatically generated">
            <a:extLst>
              <a:ext uri="{FF2B5EF4-FFF2-40B4-BE49-F238E27FC236}">
                <a16:creationId xmlns:a16="http://schemas.microsoft.com/office/drawing/2014/main" id="{32BAE040-E44B-4B67-9861-16206A5A02B2}"/>
              </a:ext>
            </a:extLst>
          </p:cNvPr>
          <p:cNvPicPr>
            <a:picLocks noChangeAspect="1"/>
          </p:cNvPicPr>
          <p:nvPr/>
        </p:nvPicPr>
        <p:blipFill>
          <a:blip r:embed="rId7"/>
          <a:stretch>
            <a:fillRect/>
          </a:stretch>
        </p:blipFill>
        <p:spPr>
          <a:xfrm>
            <a:off x="0" y="0"/>
            <a:ext cx="12192000" cy="6858000"/>
          </a:xfrm>
          <a:prstGeom prst="rect">
            <a:avLst/>
          </a:prstGeom>
        </p:spPr>
      </p:pic>
    </p:spTree>
    <p:extLst>
      <p:ext uri="{BB962C8B-B14F-4D97-AF65-F5344CB8AC3E}">
        <p14:creationId xmlns:p14="http://schemas.microsoft.com/office/powerpoint/2010/main" val="33330023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FB50F3-F29C-4A58-AA8F-8BF3D06EDD95}"/>
              </a:ext>
            </a:extLst>
          </p:cNvPr>
          <p:cNvGraphicFramePr>
            <a:graphicFrameLocks noChangeAspect="1"/>
          </p:cNvGraphicFramePr>
          <p:nvPr>
            <p:custDataLst>
              <p:tags r:id="rId2"/>
            </p:custDataLst>
            <p:extLst>
              <p:ext uri="{D42A27DB-BD31-4B8C-83A1-F6EECF244321}">
                <p14:modId xmlns:p14="http://schemas.microsoft.com/office/powerpoint/2010/main" val="3249190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3" name="think-cell Slide" r:id="rId5" imgW="347" imgH="348" progId="TCLayout.ActiveDocument.1">
                  <p:embed/>
                </p:oleObj>
              </mc:Choice>
              <mc:Fallback>
                <p:oleObj name="think-cell Slide" r:id="rId5" imgW="347" imgH="348" progId="TCLayout.ActiveDocument.1">
                  <p:embed/>
                  <p:pic>
                    <p:nvPicPr>
                      <p:cNvPr id="4" name="Object 3" hidden="1">
                        <a:extLst>
                          <a:ext uri="{FF2B5EF4-FFF2-40B4-BE49-F238E27FC236}">
                            <a16:creationId xmlns:a16="http://schemas.microsoft.com/office/drawing/2014/main" id="{18FB50F3-F29C-4A58-AA8F-8BF3D06EDD9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0A4D18B-7C16-44BF-9D75-A13EDABCDCDA}"/>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a:extLst>
              <a:ext uri="{FF2B5EF4-FFF2-40B4-BE49-F238E27FC236}">
                <a16:creationId xmlns:a16="http://schemas.microsoft.com/office/drawing/2014/main" id="{6727D1CC-954D-4E6A-87E3-1C55CE9E4BAD}"/>
              </a:ext>
            </a:extLst>
          </p:cNvPr>
          <p:cNvSpPr>
            <a:spLocks noGrp="1"/>
          </p:cNvSpPr>
          <p:nvPr>
            <p:ph type="title"/>
          </p:nvPr>
        </p:nvSpPr>
        <p:spPr/>
        <p:txBody>
          <a:bodyPr/>
          <a:lstStyle/>
          <a:p>
            <a:r>
              <a:rPr lang="en-US" dirty="0"/>
              <a:t>Customizations |  LAB Spaces</a:t>
            </a:r>
          </a:p>
        </p:txBody>
      </p:sp>
      <p:pic>
        <p:nvPicPr>
          <p:cNvPr id="5" name="Picture 4">
            <a:extLst>
              <a:ext uri="{FF2B5EF4-FFF2-40B4-BE49-F238E27FC236}">
                <a16:creationId xmlns:a16="http://schemas.microsoft.com/office/drawing/2014/main" id="{BD42DDAF-6B31-40E0-95B4-A5B19AD287F0}"/>
              </a:ext>
            </a:extLst>
          </p:cNvPr>
          <p:cNvPicPr>
            <a:picLocks noChangeAspect="1"/>
          </p:cNvPicPr>
          <p:nvPr/>
        </p:nvPicPr>
        <p:blipFill>
          <a:blip r:embed="rId7"/>
          <a:stretch>
            <a:fillRect/>
          </a:stretch>
        </p:blipFill>
        <p:spPr>
          <a:xfrm>
            <a:off x="0" y="0"/>
            <a:ext cx="12192000" cy="6858000"/>
          </a:xfrm>
          <a:prstGeom prst="rect">
            <a:avLst/>
          </a:prstGeom>
        </p:spPr>
      </p:pic>
    </p:spTree>
    <p:extLst>
      <p:ext uri="{BB962C8B-B14F-4D97-AF65-F5344CB8AC3E}">
        <p14:creationId xmlns:p14="http://schemas.microsoft.com/office/powerpoint/2010/main" val="1895020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FB50F3-F29C-4A58-AA8F-8BF3D06EDD95}"/>
              </a:ext>
            </a:extLst>
          </p:cNvPr>
          <p:cNvGraphicFramePr>
            <a:graphicFrameLocks noChangeAspect="1"/>
          </p:cNvGraphicFramePr>
          <p:nvPr>
            <p:custDataLst>
              <p:tags r:id="rId2"/>
            </p:custDataLst>
            <p:extLst>
              <p:ext uri="{D42A27DB-BD31-4B8C-83A1-F6EECF244321}">
                <p14:modId xmlns:p14="http://schemas.microsoft.com/office/powerpoint/2010/main" val="2165629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7" name="think-cell Slide" r:id="rId5" imgW="347" imgH="348" progId="TCLayout.ActiveDocument.1">
                  <p:embed/>
                </p:oleObj>
              </mc:Choice>
              <mc:Fallback>
                <p:oleObj name="think-cell Slide" r:id="rId5" imgW="347" imgH="348" progId="TCLayout.ActiveDocument.1">
                  <p:embed/>
                  <p:pic>
                    <p:nvPicPr>
                      <p:cNvPr id="4" name="Object 3" hidden="1">
                        <a:extLst>
                          <a:ext uri="{FF2B5EF4-FFF2-40B4-BE49-F238E27FC236}">
                            <a16:creationId xmlns:a16="http://schemas.microsoft.com/office/drawing/2014/main" id="{18FB50F3-F29C-4A58-AA8F-8BF3D06EDD9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0A4D18B-7C16-44BF-9D75-A13EDABCDCDA}"/>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a:extLst>
              <a:ext uri="{FF2B5EF4-FFF2-40B4-BE49-F238E27FC236}">
                <a16:creationId xmlns:a16="http://schemas.microsoft.com/office/drawing/2014/main" id="{6727D1CC-954D-4E6A-87E3-1C55CE9E4BAD}"/>
              </a:ext>
            </a:extLst>
          </p:cNvPr>
          <p:cNvSpPr>
            <a:spLocks noGrp="1"/>
          </p:cNvSpPr>
          <p:nvPr>
            <p:ph type="title"/>
          </p:nvPr>
        </p:nvSpPr>
        <p:spPr/>
        <p:txBody>
          <a:bodyPr/>
          <a:lstStyle/>
          <a:p>
            <a:r>
              <a:rPr lang="en-US" dirty="0"/>
              <a:t>Customizations |  LAB Social Group</a:t>
            </a:r>
          </a:p>
        </p:txBody>
      </p:sp>
      <p:pic>
        <p:nvPicPr>
          <p:cNvPr id="5" name="Picture 4" descr="A picture containing graphical user interface&#10;&#10;Description automatically generated">
            <a:extLst>
              <a:ext uri="{FF2B5EF4-FFF2-40B4-BE49-F238E27FC236}">
                <a16:creationId xmlns:a16="http://schemas.microsoft.com/office/drawing/2014/main" id="{ADC5FA91-EAF2-4071-B3E6-25194B052B1B}"/>
              </a:ext>
            </a:extLst>
          </p:cNvPr>
          <p:cNvPicPr>
            <a:picLocks noChangeAspect="1"/>
          </p:cNvPicPr>
          <p:nvPr/>
        </p:nvPicPr>
        <p:blipFill>
          <a:blip r:embed="rId7"/>
          <a:stretch>
            <a:fillRect/>
          </a:stretch>
        </p:blipFill>
        <p:spPr>
          <a:xfrm>
            <a:off x="0" y="0"/>
            <a:ext cx="12192000" cy="6858000"/>
          </a:xfrm>
          <a:prstGeom prst="rect">
            <a:avLst/>
          </a:prstGeom>
        </p:spPr>
      </p:pic>
    </p:spTree>
    <p:extLst>
      <p:ext uri="{BB962C8B-B14F-4D97-AF65-F5344CB8AC3E}">
        <p14:creationId xmlns:p14="http://schemas.microsoft.com/office/powerpoint/2010/main" val="749567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oxdhhiPOWihG3lA7t271A"/>
</p:tagLst>
</file>

<file path=ppt/tags/tag34.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7.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box"/>
  <p:tag name="EE4P_LAYOUT_ID" val="K"/>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yidNM5C9gr8nfXC8viGz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GuIpFcPbCSkfHdIVyPU49A"/>
</p:tagLst>
</file>

<file path=ppt/tags/tag4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4.xml><?xml version="1.0" encoding="utf-8"?>
<p:tagLst xmlns:a="http://schemas.openxmlformats.org/drawingml/2006/main" xmlns:r="http://schemas.openxmlformats.org/officeDocument/2006/relationships" xmlns:p="http://schemas.openxmlformats.org/presentationml/2006/main">
  <p:tag name="BCG_MODE" val="Presentation"/>
  <p:tag name="BCG_DESIGN" val="Five heading"/>
  <p:tag name="EE4P_STRETCH" val="1"/>
  <p:tag name="EE4P_LAYOUT_ID" val="K"/>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su2wXCyCtOc6z7U3IFMGQ"/>
</p:tagLst>
</file>

<file path=ppt/tags/tag4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4_YUezFE977C3EhTNm_dB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4_YUezFE977C3EhTNm_dBg"/>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4_YUezFE977C3EhTNm_dBg"/>
</p:tagLst>
</file>

<file path=ppt/tags/tag62.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box"/>
  <p:tag name="EE4P_LAYOUT_ID" val="K"/>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kJYSNjFe62FviODuVEg_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6OXtk9sbLJl4tfPQ9mfbHw"/>
</p:tagLst>
</file>

<file path=ppt/tags/tag6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GO3bF8vdvWQkTpmaFfvn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jN.xyhl6M2xqqOZvwfd0A"/>
</p:tagLst>
</file>

<file path=ppt/tags/tag72.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box"/>
  <p:tag name="EE4P_LAYOUT_ID" val="K"/>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kJYSNjFe62FviODuVEg_A"/>
</p:tagLst>
</file>

<file path=ppt/tags/tag7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7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LY7FuFAnfABLx_afcAdu_w"/>
</p:tagLst>
</file>

<file path=ppt/tags/tag7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SrDzOnlxpH6axicKJDgsw"/>
</p:tagLst>
</file>

<file path=ppt/tags/tag8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MwtAAo1oZ2a6kwAJfriuZ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RpTXhSQEA0Sjz8ioxkC.zA"/>
</p:tagLst>
</file>

<file path=ppt/tags/tag88.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8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2.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box"/>
  <p:tag name="EE4P_LAYOUT_ID" val="K"/>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4fCoH6nEwPSP3Hq2v0mVQ"/>
</p:tagLst>
</file>

<file path=ppt/tags/tag9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210</TotalTime>
  <Words>1622</Words>
  <Application>Microsoft Office PowerPoint</Application>
  <PresentationFormat>Widescreen</PresentationFormat>
  <Paragraphs>167</Paragraphs>
  <Slides>22</Slides>
  <Notes>14</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2</vt:i4>
      </vt:variant>
      <vt:variant>
        <vt:lpstr>Custom Shows</vt:lpstr>
      </vt:variant>
      <vt:variant>
        <vt:i4>1</vt:i4>
      </vt:variant>
    </vt:vector>
  </HeadingPairs>
  <TitlesOfParts>
    <vt:vector size="27" baseType="lpstr">
      <vt:lpstr>Arial</vt:lpstr>
      <vt:lpstr>Trebuchet MS</vt:lpstr>
      <vt:lpstr>BCG Grid 16:9</vt:lpstr>
      <vt:lpstr>think-cell Slide</vt:lpstr>
      <vt:lpstr>LAB Customization Playbook</vt:lpstr>
      <vt:lpstr>PowerPoint Presentation</vt:lpstr>
      <vt:lpstr>Make LAB your learning destination</vt:lpstr>
      <vt:lpstr>LAB is designed to be a one-stop learning destination</vt:lpstr>
      <vt:lpstr>Our content library offers a variety of topics for all cohorts</vt:lpstr>
      <vt:lpstr>Tailor LAB to fit your learner's needs</vt:lpstr>
      <vt:lpstr>Customizations |  LAB Landing</vt:lpstr>
      <vt:lpstr>Customizations |  LAB Spaces</vt:lpstr>
      <vt:lpstr>Customizations |  LAB Social Group</vt:lpstr>
      <vt:lpstr>How we can partner with you</vt:lpstr>
      <vt:lpstr>LAB is supported by the Global L&amp;D Team</vt:lpstr>
      <vt:lpstr>Lifecycle of a Customized LAB Experience</vt:lpstr>
      <vt:lpstr>Understanding Your Needs</vt:lpstr>
      <vt:lpstr>Operations</vt:lpstr>
      <vt:lpstr>Executing on your LAB initiative</vt:lpstr>
      <vt:lpstr>LABcasts are categorized into three service levels</vt:lpstr>
      <vt:lpstr>For more information and support</vt:lpstr>
      <vt:lpstr>Next steps</vt:lpstr>
      <vt:lpstr>Appendix</vt:lpstr>
      <vt:lpstr>Available portlets glossary</vt:lpstr>
      <vt:lpstr>PowerPoint Presentation</vt:lpstr>
      <vt:lpstr>PowerPoint Presentation</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enier, Kate</dc:creator>
  <cp:lastModifiedBy>Duggan, Max</cp:lastModifiedBy>
  <cp:revision>83</cp:revision>
  <cp:lastPrinted>2016-04-06T18:59:25Z</cp:lastPrinted>
  <dcterms:created xsi:type="dcterms:W3CDTF">2020-09-11T19:21:14Z</dcterms:created>
  <dcterms:modified xsi:type="dcterms:W3CDTF">2021-03-05T04:2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